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4533" autoAdjust="0"/>
    <p:restoredTop sz="93792" autoAdjust="0"/>
  </p:normalViewPr>
  <p:slideViewPr>
    <p:cSldViewPr>
      <p:cViewPr varScale="1">
        <p:scale>
          <a:sx n="86" d="100"/>
          <a:sy n="86" d="100"/>
        </p:scale>
        <p:origin x="858" y="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delwal, Rahul" userId="a3e3dcc2-f091-47be-b937-7067e8d8998e" providerId="ADAL" clId="{BDA56503-2F5F-4890-A981-3E802E3B1002}"/>
    <pc:docChg chg="undo custSel addSld delSld modSld sldOrd delMainMaster modSection">
      <pc:chgData name="Khandelwal, Rahul" userId="a3e3dcc2-f091-47be-b937-7067e8d8998e" providerId="ADAL" clId="{BDA56503-2F5F-4890-A981-3E802E3B1002}" dt="2021-05-23T16:16:25.113" v="1238"/>
      <pc:docMkLst>
        <pc:docMk/>
      </pc:docMkLst>
      <pc:sldChg chg="del">
        <pc:chgData name="Khandelwal, Rahul" userId="a3e3dcc2-f091-47be-b937-7067e8d8998e" providerId="ADAL" clId="{BDA56503-2F5F-4890-A981-3E802E3B1002}" dt="2021-05-23T08:50:57.616" v="241" actId="2696"/>
        <pc:sldMkLst>
          <pc:docMk/>
          <pc:sldMk cId="2017671847" sldId="297"/>
        </pc:sldMkLst>
      </pc:sldChg>
      <pc:sldChg chg="del">
        <pc:chgData name="Khandelwal, Rahul" userId="a3e3dcc2-f091-47be-b937-7067e8d8998e" providerId="ADAL" clId="{BDA56503-2F5F-4890-A981-3E802E3B1002}" dt="2021-05-23T09:58:23.643" v="707" actId="2696"/>
        <pc:sldMkLst>
          <pc:docMk/>
          <pc:sldMk cId="3493555820" sldId="312"/>
        </pc:sldMkLst>
      </pc:sldChg>
      <pc:sldChg chg="del">
        <pc:chgData name="Khandelwal, Rahul" userId="a3e3dcc2-f091-47be-b937-7067e8d8998e" providerId="ADAL" clId="{BDA56503-2F5F-4890-A981-3E802E3B1002}" dt="2021-05-23T09:58:27.978" v="721" actId="2696"/>
        <pc:sldMkLst>
          <pc:docMk/>
          <pc:sldMk cId="3376722241" sldId="411"/>
        </pc:sldMkLst>
      </pc:sldChg>
      <pc:sldChg chg="ord">
        <pc:chgData name="Khandelwal, Rahul" userId="a3e3dcc2-f091-47be-b937-7067e8d8998e" providerId="ADAL" clId="{BDA56503-2F5F-4890-A981-3E802E3B1002}" dt="2021-05-23T09:55:34.069" v="681"/>
        <pc:sldMkLst>
          <pc:docMk/>
          <pc:sldMk cId="1023936607" sldId="412"/>
        </pc:sldMkLst>
      </pc:sldChg>
      <pc:sldChg chg="del">
        <pc:chgData name="Khandelwal, Rahul" userId="a3e3dcc2-f091-47be-b937-7067e8d8998e" providerId="ADAL" clId="{BDA56503-2F5F-4890-A981-3E802E3B1002}" dt="2021-05-23T10:03:44.660" v="722" actId="2696"/>
        <pc:sldMkLst>
          <pc:docMk/>
          <pc:sldMk cId="0" sldId="560"/>
        </pc:sldMkLst>
      </pc:sldChg>
      <pc:sldChg chg="del">
        <pc:chgData name="Khandelwal, Rahul" userId="a3e3dcc2-f091-47be-b937-7067e8d8998e" providerId="ADAL" clId="{BDA56503-2F5F-4890-A981-3E802E3B1002}" dt="2021-05-23T10:16:54.585" v="816" actId="2696"/>
        <pc:sldMkLst>
          <pc:docMk/>
          <pc:sldMk cId="2015533812" sldId="1044"/>
        </pc:sldMkLst>
      </pc:sldChg>
      <pc:sldChg chg="addSp delSp modSp">
        <pc:chgData name="Khandelwal, Rahul" userId="a3e3dcc2-f091-47be-b937-7067e8d8998e" providerId="ADAL" clId="{BDA56503-2F5F-4890-A981-3E802E3B1002}" dt="2021-05-23T10:59:35.589" v="1190" actId="313"/>
        <pc:sldMkLst>
          <pc:docMk/>
          <pc:sldMk cId="3440605736" sldId="1048"/>
        </pc:sldMkLst>
        <pc:spChg chg="mod">
          <ac:chgData name="Khandelwal, Rahul" userId="a3e3dcc2-f091-47be-b937-7067e8d8998e" providerId="ADAL" clId="{BDA56503-2F5F-4890-A981-3E802E3B1002}" dt="2021-05-23T10:43:19.117" v="903" actId="20577"/>
          <ac:spMkLst>
            <pc:docMk/>
            <pc:sldMk cId="3440605736" sldId="1048"/>
            <ac:spMk id="2" creationId="{5E9DF378-2BB0-46F8-9CE5-2BB614DEC28E}"/>
          </ac:spMkLst>
        </pc:spChg>
        <pc:spChg chg="mod">
          <ac:chgData name="Khandelwal, Rahul" userId="a3e3dcc2-f091-47be-b937-7067e8d8998e" providerId="ADAL" clId="{BDA56503-2F5F-4890-A981-3E802E3B1002}" dt="2021-05-23T08:43:18.483" v="5" actId="1076"/>
          <ac:spMkLst>
            <pc:docMk/>
            <pc:sldMk cId="3440605736" sldId="1048"/>
            <ac:spMk id="3" creationId="{EE8224EB-8B81-4BEB-B1EB-748CD7290948}"/>
          </ac:spMkLst>
        </pc:spChg>
        <pc:graphicFrameChg chg="del">
          <ac:chgData name="Khandelwal, Rahul" userId="a3e3dcc2-f091-47be-b937-7067e8d8998e" providerId="ADAL" clId="{BDA56503-2F5F-4890-A981-3E802E3B1002}" dt="2021-05-23T08:42:16.486" v="0" actId="478"/>
          <ac:graphicFrameMkLst>
            <pc:docMk/>
            <pc:sldMk cId="3440605736" sldId="1048"/>
            <ac:graphicFrameMk id="6" creationId="{08AAB50B-73FA-4BB2-BC4C-82295B610004}"/>
          </ac:graphicFrameMkLst>
        </pc:graphicFrameChg>
        <pc:graphicFrameChg chg="add modGraphic">
          <ac:chgData name="Khandelwal, Rahul" userId="a3e3dcc2-f091-47be-b937-7067e8d8998e" providerId="ADAL" clId="{BDA56503-2F5F-4890-A981-3E802E3B1002}" dt="2021-05-23T10:59:35.589" v="1190" actId="313"/>
          <ac:graphicFrameMkLst>
            <pc:docMk/>
            <pc:sldMk cId="3440605736" sldId="1048"/>
            <ac:graphicFrameMk id="7" creationId="{74ED80E0-ECD1-4DF7-A35E-9201CE580816}"/>
          </ac:graphicFrameMkLst>
        </pc:graphicFrameChg>
      </pc:sldChg>
      <pc:sldChg chg="modSp">
        <pc:chgData name="Khandelwal, Rahul" userId="a3e3dcc2-f091-47be-b937-7067e8d8998e" providerId="ADAL" clId="{BDA56503-2F5F-4890-A981-3E802E3B1002}" dt="2021-05-23T16:05:42.551" v="1227" actId="20577"/>
        <pc:sldMkLst>
          <pc:docMk/>
          <pc:sldMk cId="203152348" sldId="1049"/>
        </pc:sldMkLst>
        <pc:spChg chg="mod">
          <ac:chgData name="Khandelwal, Rahul" userId="a3e3dcc2-f091-47be-b937-7067e8d8998e" providerId="ADAL" clId="{BDA56503-2F5F-4890-A981-3E802E3B1002}" dt="2021-05-23T09:52:58.445" v="680" actId="20577"/>
          <ac:spMkLst>
            <pc:docMk/>
            <pc:sldMk cId="203152348" sldId="1049"/>
            <ac:spMk id="7175" creationId="{BADEA8C0-D1A3-4608-9E63-683339DCC944}"/>
          </ac:spMkLst>
        </pc:spChg>
        <pc:graphicFrameChg chg="mod modGraphic">
          <ac:chgData name="Khandelwal, Rahul" userId="a3e3dcc2-f091-47be-b937-7067e8d8998e" providerId="ADAL" clId="{BDA56503-2F5F-4890-A981-3E802E3B1002}" dt="2021-05-23T16:05:42.551" v="1227" actId="20577"/>
          <ac:graphicFrameMkLst>
            <pc:docMk/>
            <pc:sldMk cId="203152348" sldId="1049"/>
            <ac:graphicFrameMk id="2" creationId="{B8B0DC3D-A319-4B78-A461-3FAC5C106C85}"/>
          </ac:graphicFrameMkLst>
        </pc:graphicFrameChg>
      </pc:sldChg>
      <pc:sldChg chg="addSp delSp modSp">
        <pc:chgData name="Khandelwal, Rahul" userId="a3e3dcc2-f091-47be-b937-7067e8d8998e" providerId="ADAL" clId="{BDA56503-2F5F-4890-A981-3E802E3B1002}" dt="2021-05-23T11:02:34.320" v="1218" actId="1076"/>
        <pc:sldMkLst>
          <pc:docMk/>
          <pc:sldMk cId="3588828647" sldId="1050"/>
        </pc:sldMkLst>
        <pc:spChg chg="mod">
          <ac:chgData name="Khandelwal, Rahul" userId="a3e3dcc2-f091-47be-b937-7067e8d8998e" providerId="ADAL" clId="{BDA56503-2F5F-4890-A981-3E802E3B1002}" dt="2021-05-23T10:43:51.521" v="909" actId="1076"/>
          <ac:spMkLst>
            <pc:docMk/>
            <pc:sldMk cId="3588828647" sldId="1050"/>
            <ac:spMk id="3" creationId="{584D2866-EA4C-4F80-8863-9D90A40D1D11}"/>
          </ac:spMkLst>
        </pc:spChg>
        <pc:spChg chg="mod">
          <ac:chgData name="Khandelwal, Rahul" userId="a3e3dcc2-f091-47be-b937-7067e8d8998e" providerId="ADAL" clId="{BDA56503-2F5F-4890-A981-3E802E3B1002}" dt="2021-05-23T09:24:00.501" v="332" actId="20577"/>
          <ac:spMkLst>
            <pc:docMk/>
            <pc:sldMk cId="3588828647" sldId="1050"/>
            <ac:spMk id="47" creationId="{986D999D-831A-4FE6-B161-72F3B77A10DC}"/>
          </ac:spMkLst>
        </pc:spChg>
        <pc:spChg chg="mod">
          <ac:chgData name="Khandelwal, Rahul" userId="a3e3dcc2-f091-47be-b937-7067e8d8998e" providerId="ADAL" clId="{BDA56503-2F5F-4890-A981-3E802E3B1002}" dt="2021-05-23T10:54:21.187" v="1048" actId="20577"/>
          <ac:spMkLst>
            <pc:docMk/>
            <pc:sldMk cId="3588828647" sldId="1050"/>
            <ac:spMk id="59" creationId="{5DE4D9F5-0C93-4CE9-BF1F-FDDFE7A12533}"/>
          </ac:spMkLst>
        </pc:spChg>
        <pc:spChg chg="mod">
          <ac:chgData name="Khandelwal, Rahul" userId="a3e3dcc2-f091-47be-b937-7067e8d8998e" providerId="ADAL" clId="{BDA56503-2F5F-4890-A981-3E802E3B1002}" dt="2021-05-23T10:54:52.405" v="1064" actId="20577"/>
          <ac:spMkLst>
            <pc:docMk/>
            <pc:sldMk cId="3588828647" sldId="1050"/>
            <ac:spMk id="60" creationId="{82371DB6-335F-4687-BFF2-FCA9805C14B2}"/>
          </ac:spMkLst>
        </pc:spChg>
        <pc:spChg chg="del">
          <ac:chgData name="Khandelwal, Rahul" userId="a3e3dcc2-f091-47be-b937-7067e8d8998e" providerId="ADAL" clId="{BDA56503-2F5F-4890-A981-3E802E3B1002}" dt="2021-05-23T09:52:13.645" v="671" actId="478"/>
          <ac:spMkLst>
            <pc:docMk/>
            <pc:sldMk cId="3588828647" sldId="1050"/>
            <ac:spMk id="62" creationId="{3344005A-0058-44AF-903F-28504021989E}"/>
          </ac:spMkLst>
        </pc:spChg>
        <pc:spChg chg="mod">
          <ac:chgData name="Khandelwal, Rahul" userId="a3e3dcc2-f091-47be-b937-7067e8d8998e" providerId="ADAL" clId="{BDA56503-2F5F-4890-A981-3E802E3B1002}" dt="2021-05-23T10:06:14.778" v="743" actId="20577"/>
          <ac:spMkLst>
            <pc:docMk/>
            <pc:sldMk cId="3588828647" sldId="1050"/>
            <ac:spMk id="65" creationId="{E39B6E9A-D63A-44EC-9440-8B896E9A8436}"/>
          </ac:spMkLst>
        </pc:spChg>
        <pc:spChg chg="mod">
          <ac:chgData name="Khandelwal, Rahul" userId="a3e3dcc2-f091-47be-b937-7067e8d8998e" providerId="ADAL" clId="{BDA56503-2F5F-4890-A981-3E802E3B1002}" dt="2021-05-23T09:24:08.159" v="343" actId="20577"/>
          <ac:spMkLst>
            <pc:docMk/>
            <pc:sldMk cId="3588828647" sldId="1050"/>
            <ac:spMk id="67" creationId="{00F21299-09C0-4437-B7DC-3D2CCF773817}"/>
          </ac:spMkLst>
        </pc:spChg>
        <pc:spChg chg="mod">
          <ac:chgData name="Khandelwal, Rahul" userId="a3e3dcc2-f091-47be-b937-7067e8d8998e" providerId="ADAL" clId="{BDA56503-2F5F-4890-A981-3E802E3B1002}" dt="2021-05-23T10:06:35.535" v="777" actId="20577"/>
          <ac:spMkLst>
            <pc:docMk/>
            <pc:sldMk cId="3588828647" sldId="1050"/>
            <ac:spMk id="70" creationId="{86BD8481-7A2E-471B-8531-C343D411D4C8}"/>
          </ac:spMkLst>
        </pc:spChg>
        <pc:spChg chg="mod">
          <ac:chgData name="Khandelwal, Rahul" userId="a3e3dcc2-f091-47be-b937-7067e8d8998e" providerId="ADAL" clId="{BDA56503-2F5F-4890-A981-3E802E3B1002}" dt="2021-05-23T10:06:25.948" v="762" actId="20577"/>
          <ac:spMkLst>
            <pc:docMk/>
            <pc:sldMk cId="3588828647" sldId="1050"/>
            <ac:spMk id="76" creationId="{704E821D-E442-4485-AACB-FC177C290A6A}"/>
          </ac:spMkLst>
        </pc:spChg>
        <pc:spChg chg="mod">
          <ac:chgData name="Khandelwal, Rahul" userId="a3e3dcc2-f091-47be-b937-7067e8d8998e" providerId="ADAL" clId="{BDA56503-2F5F-4890-A981-3E802E3B1002}" dt="2021-05-23T10:06:41.119" v="796" actId="20577"/>
          <ac:spMkLst>
            <pc:docMk/>
            <pc:sldMk cId="3588828647" sldId="1050"/>
            <ac:spMk id="78" creationId="{31CBBC8F-F635-4FC2-83F8-EE74C057674C}"/>
          </ac:spMkLst>
        </pc:spChg>
        <pc:spChg chg="mod">
          <ac:chgData name="Khandelwal, Rahul" userId="a3e3dcc2-f091-47be-b937-7067e8d8998e" providerId="ADAL" clId="{BDA56503-2F5F-4890-A981-3E802E3B1002}" dt="2021-05-23T09:24:14.896" v="345"/>
          <ac:spMkLst>
            <pc:docMk/>
            <pc:sldMk cId="3588828647" sldId="1050"/>
            <ac:spMk id="79" creationId="{52690C13-4231-43C5-A68D-F3D774534B78}"/>
          </ac:spMkLst>
        </pc:spChg>
        <pc:spChg chg="mod">
          <ac:chgData name="Khandelwal, Rahul" userId="a3e3dcc2-f091-47be-b937-7067e8d8998e" providerId="ADAL" clId="{BDA56503-2F5F-4890-A981-3E802E3B1002}" dt="2021-05-23T09:24:18.215" v="346"/>
          <ac:spMkLst>
            <pc:docMk/>
            <pc:sldMk cId="3588828647" sldId="1050"/>
            <ac:spMk id="82" creationId="{45678503-4773-4312-8E05-397572A88E0E}"/>
          </ac:spMkLst>
        </pc:spChg>
        <pc:spChg chg="mod">
          <ac:chgData name="Khandelwal, Rahul" userId="a3e3dcc2-f091-47be-b937-7067e8d8998e" providerId="ADAL" clId="{BDA56503-2F5F-4890-A981-3E802E3B1002}" dt="2021-05-23T10:06:56.989" v="797" actId="108"/>
          <ac:spMkLst>
            <pc:docMk/>
            <pc:sldMk cId="3588828647" sldId="1050"/>
            <ac:spMk id="87" creationId="{163DB80B-E887-4B69-A272-6851E52A534F}"/>
          </ac:spMkLst>
        </pc:spChg>
        <pc:spChg chg="mod">
          <ac:chgData name="Khandelwal, Rahul" userId="a3e3dcc2-f091-47be-b937-7067e8d8998e" providerId="ADAL" clId="{BDA56503-2F5F-4890-A981-3E802E3B1002}" dt="2021-05-23T09:22:23.752" v="301" actId="1076"/>
          <ac:spMkLst>
            <pc:docMk/>
            <pc:sldMk cId="3588828647" sldId="1050"/>
            <ac:spMk id="88" creationId="{191C3D30-139B-4299-B202-947AE8300097}"/>
          </ac:spMkLst>
        </pc:spChg>
        <pc:spChg chg="mod">
          <ac:chgData name="Khandelwal, Rahul" userId="a3e3dcc2-f091-47be-b937-7067e8d8998e" providerId="ADAL" clId="{BDA56503-2F5F-4890-A981-3E802E3B1002}" dt="2021-05-23T09:22:07.246" v="296" actId="1076"/>
          <ac:spMkLst>
            <pc:docMk/>
            <pc:sldMk cId="3588828647" sldId="1050"/>
            <ac:spMk id="89" creationId="{F874453B-8ECA-4D19-B86E-2F7322010D3E}"/>
          </ac:spMkLst>
        </pc:spChg>
        <pc:spChg chg="mod">
          <ac:chgData name="Khandelwal, Rahul" userId="a3e3dcc2-f091-47be-b937-7067e8d8998e" providerId="ADAL" clId="{BDA56503-2F5F-4890-A981-3E802E3B1002}" dt="2021-05-23T09:52:19.496" v="672" actId="6549"/>
          <ac:spMkLst>
            <pc:docMk/>
            <pc:sldMk cId="3588828647" sldId="1050"/>
            <ac:spMk id="96" creationId="{3B9E6B8F-28A8-4790-8BD1-21BA7D0072E8}"/>
          </ac:spMkLst>
        </pc:spChg>
        <pc:spChg chg="del mod ord topLvl">
          <ac:chgData name="Khandelwal, Rahul" userId="a3e3dcc2-f091-47be-b937-7067e8d8998e" providerId="ADAL" clId="{BDA56503-2F5F-4890-A981-3E802E3B1002}" dt="2021-05-23T09:22:42.771" v="302" actId="478"/>
          <ac:spMkLst>
            <pc:docMk/>
            <pc:sldMk cId="3588828647" sldId="1050"/>
            <ac:spMk id="106" creationId="{F614E25C-44D7-43AF-B0FF-7D28368D70C3}"/>
          </ac:spMkLst>
        </pc:spChg>
        <pc:spChg chg="del topLvl">
          <ac:chgData name="Khandelwal, Rahul" userId="a3e3dcc2-f091-47be-b937-7067e8d8998e" providerId="ADAL" clId="{BDA56503-2F5F-4890-A981-3E802E3B1002}" dt="2021-05-23T09:21:36.367" v="288" actId="478"/>
          <ac:spMkLst>
            <pc:docMk/>
            <pc:sldMk cId="3588828647" sldId="1050"/>
            <ac:spMk id="107" creationId="{98E53CC9-2B4E-462E-8A82-E5E1E899EA3B}"/>
          </ac:spMkLst>
        </pc:spChg>
        <pc:spChg chg="del">
          <ac:chgData name="Khandelwal, Rahul" userId="a3e3dcc2-f091-47be-b937-7067e8d8998e" providerId="ADAL" clId="{BDA56503-2F5F-4890-A981-3E802E3B1002}" dt="2021-05-23T09:21:28.816" v="284" actId="478"/>
          <ac:spMkLst>
            <pc:docMk/>
            <pc:sldMk cId="3588828647" sldId="1050"/>
            <ac:spMk id="108" creationId="{94944C05-F576-4BB9-8AFB-CCF52FDBBF15}"/>
          </ac:spMkLst>
        </pc:spChg>
        <pc:spChg chg="del">
          <ac:chgData name="Khandelwal, Rahul" userId="a3e3dcc2-f091-47be-b937-7067e8d8998e" providerId="ADAL" clId="{BDA56503-2F5F-4890-A981-3E802E3B1002}" dt="2021-05-23T09:21:32.247" v="285" actId="478"/>
          <ac:spMkLst>
            <pc:docMk/>
            <pc:sldMk cId="3588828647" sldId="1050"/>
            <ac:spMk id="109" creationId="{0579524B-DAF4-4AAF-A8F2-2E09BF8C8F68}"/>
          </ac:spMkLst>
        </pc:spChg>
        <pc:spChg chg="add mod">
          <ac:chgData name="Khandelwal, Rahul" userId="a3e3dcc2-f091-47be-b937-7067e8d8998e" providerId="ADAL" clId="{BDA56503-2F5F-4890-A981-3E802E3B1002}" dt="2021-05-23T09:23:05.433" v="304" actId="164"/>
          <ac:spMkLst>
            <pc:docMk/>
            <pc:sldMk cId="3588828647" sldId="1050"/>
            <ac:spMk id="115" creationId="{FE944096-C64A-46E7-BA20-47E5FFECBD2F}"/>
          </ac:spMkLst>
        </pc:spChg>
        <pc:spChg chg="add mod">
          <ac:chgData name="Khandelwal, Rahul" userId="a3e3dcc2-f091-47be-b937-7067e8d8998e" providerId="ADAL" clId="{BDA56503-2F5F-4890-A981-3E802E3B1002}" dt="2021-05-23T09:23:05.433" v="304" actId="164"/>
          <ac:spMkLst>
            <pc:docMk/>
            <pc:sldMk cId="3588828647" sldId="1050"/>
            <ac:spMk id="116" creationId="{7D135FE0-6206-49B8-98F1-73EC0067662C}"/>
          </ac:spMkLst>
        </pc:spChg>
        <pc:spChg chg="add mod">
          <ac:chgData name="Khandelwal, Rahul" userId="a3e3dcc2-f091-47be-b937-7067e8d8998e" providerId="ADAL" clId="{BDA56503-2F5F-4890-A981-3E802E3B1002}" dt="2021-05-23T09:23:16.853" v="306" actId="207"/>
          <ac:spMkLst>
            <pc:docMk/>
            <pc:sldMk cId="3588828647" sldId="1050"/>
            <ac:spMk id="117" creationId="{1BA88E5D-6E03-48A6-9AAB-1CA5C15115DD}"/>
          </ac:spMkLst>
        </pc:spChg>
        <pc:spChg chg="add mod">
          <ac:chgData name="Khandelwal, Rahul" userId="a3e3dcc2-f091-47be-b937-7067e8d8998e" providerId="ADAL" clId="{BDA56503-2F5F-4890-A981-3E802E3B1002}" dt="2021-05-23T09:23:05.433" v="304" actId="164"/>
          <ac:spMkLst>
            <pc:docMk/>
            <pc:sldMk cId="3588828647" sldId="1050"/>
            <ac:spMk id="118" creationId="{B7FF7573-04E5-4322-950B-8BD5187F966C}"/>
          </ac:spMkLst>
        </pc:spChg>
        <pc:spChg chg="add del">
          <ac:chgData name="Khandelwal, Rahul" userId="a3e3dcc2-f091-47be-b937-7067e8d8998e" providerId="ADAL" clId="{BDA56503-2F5F-4890-A981-3E802E3B1002}" dt="2021-05-23T09:30:20.692" v="349" actId="478"/>
          <ac:spMkLst>
            <pc:docMk/>
            <pc:sldMk cId="3588828647" sldId="1050"/>
            <ac:spMk id="129" creationId="{CB61D3D2-E958-4698-896D-920230B9DC4F}"/>
          </ac:spMkLst>
        </pc:spChg>
        <pc:grpChg chg="add mod">
          <ac:chgData name="Khandelwal, Rahul" userId="a3e3dcc2-f091-47be-b937-7067e8d8998e" providerId="ADAL" clId="{BDA56503-2F5F-4890-A981-3E802E3B1002}" dt="2021-05-23T09:23:07.685" v="305" actId="1076"/>
          <ac:grpSpMkLst>
            <pc:docMk/>
            <pc:sldMk cId="3588828647" sldId="1050"/>
            <ac:grpSpMk id="4" creationId="{D35BA4E3-F8E0-452F-A3BD-38F4786DC720}"/>
          </ac:grpSpMkLst>
        </pc:grpChg>
        <pc:grpChg chg="add del mod">
          <ac:chgData name="Khandelwal, Rahul" userId="a3e3dcc2-f091-47be-b937-7067e8d8998e" providerId="ADAL" clId="{BDA56503-2F5F-4890-A981-3E802E3B1002}" dt="2021-05-23T10:46:06.405" v="930" actId="478"/>
          <ac:grpSpMkLst>
            <pc:docMk/>
            <pc:sldMk cId="3588828647" sldId="1050"/>
            <ac:grpSpMk id="19" creationId="{20B482E4-D396-483E-BC60-C78849BA84F9}"/>
          </ac:grpSpMkLst>
        </pc:grpChg>
        <pc:grpChg chg="mod">
          <ac:chgData name="Khandelwal, Rahul" userId="a3e3dcc2-f091-47be-b937-7067e8d8998e" providerId="ADAL" clId="{BDA56503-2F5F-4890-A981-3E802E3B1002}" dt="2021-05-23T09:24:18.215" v="346"/>
          <ac:grpSpMkLst>
            <pc:docMk/>
            <pc:sldMk cId="3588828647" sldId="1050"/>
            <ac:grpSpMk id="54" creationId="{1FA01D49-E356-45C5-9E28-FFAD65850905}"/>
          </ac:grpSpMkLst>
        </pc:grpChg>
        <pc:grpChg chg="mod">
          <ac:chgData name="Khandelwal, Rahul" userId="a3e3dcc2-f091-47be-b937-7067e8d8998e" providerId="ADAL" clId="{BDA56503-2F5F-4890-A981-3E802E3B1002}" dt="2021-05-23T09:24:18.215" v="346"/>
          <ac:grpSpMkLst>
            <pc:docMk/>
            <pc:sldMk cId="3588828647" sldId="1050"/>
            <ac:grpSpMk id="56" creationId="{676C9093-BD67-498B-86A9-60EEB68F8950}"/>
          </ac:grpSpMkLst>
        </pc:grpChg>
        <pc:grpChg chg="add del">
          <ac:chgData name="Khandelwal, Rahul" userId="a3e3dcc2-f091-47be-b937-7067e8d8998e" providerId="ADAL" clId="{BDA56503-2F5F-4890-A981-3E802E3B1002}" dt="2021-05-23T09:21:36.367" v="288" actId="478"/>
          <ac:grpSpMkLst>
            <pc:docMk/>
            <pc:sldMk cId="3588828647" sldId="1050"/>
            <ac:grpSpMk id="105" creationId="{82A16861-1FC5-4BC9-AE11-99A9AB6FB31A}"/>
          </ac:grpSpMkLst>
        </pc:grpChg>
        <pc:grpChg chg="add del mod">
          <ac:chgData name="Khandelwal, Rahul" userId="a3e3dcc2-f091-47be-b937-7067e8d8998e" providerId="ADAL" clId="{BDA56503-2F5F-4890-A981-3E802E3B1002}" dt="2021-05-23T09:21:24.973" v="283"/>
          <ac:grpSpMkLst>
            <pc:docMk/>
            <pc:sldMk cId="3588828647" sldId="1050"/>
            <ac:grpSpMk id="110" creationId="{A61DE81B-29C6-4499-8652-F9D19289AED3}"/>
          </ac:grpSpMkLst>
        </pc:grpChg>
        <pc:grpChg chg="add mod">
          <ac:chgData name="Khandelwal, Rahul" userId="a3e3dcc2-f091-47be-b937-7067e8d8998e" providerId="ADAL" clId="{BDA56503-2F5F-4890-A981-3E802E3B1002}" dt="2021-05-23T09:23:22.337" v="308" actId="1076"/>
          <ac:grpSpMkLst>
            <pc:docMk/>
            <pc:sldMk cId="3588828647" sldId="1050"/>
            <ac:grpSpMk id="119" creationId="{BFB72E09-F17B-457D-B5D0-DCC27C419EF9}"/>
          </ac:grpSpMkLst>
        </pc:grpChg>
        <pc:grpChg chg="add mod">
          <ac:chgData name="Khandelwal, Rahul" userId="a3e3dcc2-f091-47be-b937-7067e8d8998e" providerId="ADAL" clId="{BDA56503-2F5F-4890-A981-3E802E3B1002}" dt="2021-05-23T09:23:27.077" v="310" actId="1076"/>
          <ac:grpSpMkLst>
            <pc:docMk/>
            <pc:sldMk cId="3588828647" sldId="1050"/>
            <ac:grpSpMk id="124" creationId="{D4D47B1B-AD8A-44F0-A6FE-215E61569162}"/>
          </ac:grpSpMkLst>
        </pc:grpChg>
        <pc:picChg chg="del">
          <ac:chgData name="Khandelwal, Rahul" userId="a3e3dcc2-f091-47be-b937-7067e8d8998e" providerId="ADAL" clId="{BDA56503-2F5F-4890-A981-3E802E3B1002}" dt="2021-05-23T09:48:59.571" v="652" actId="478"/>
          <ac:picMkLst>
            <pc:docMk/>
            <pc:sldMk cId="3588828647" sldId="1050"/>
            <ac:picMk id="8" creationId="{3D840D3B-DC8D-4F9F-AD76-3BC0D01C00CC}"/>
          </ac:picMkLst>
        </pc:picChg>
        <pc:picChg chg="del">
          <ac:chgData name="Khandelwal, Rahul" userId="a3e3dcc2-f091-47be-b937-7067e8d8998e" providerId="ADAL" clId="{BDA56503-2F5F-4890-A981-3E802E3B1002}" dt="2021-05-23T09:48:56.243" v="650" actId="478"/>
          <ac:picMkLst>
            <pc:docMk/>
            <pc:sldMk cId="3588828647" sldId="1050"/>
            <ac:picMk id="10" creationId="{FE9653CE-3897-4E5F-B66E-C9F510690502}"/>
          </ac:picMkLst>
        </pc:picChg>
        <pc:picChg chg="del">
          <ac:chgData name="Khandelwal, Rahul" userId="a3e3dcc2-f091-47be-b937-7067e8d8998e" providerId="ADAL" clId="{BDA56503-2F5F-4890-A981-3E802E3B1002}" dt="2021-05-23T09:48:47.976" v="648" actId="478"/>
          <ac:picMkLst>
            <pc:docMk/>
            <pc:sldMk cId="3588828647" sldId="1050"/>
            <ac:picMk id="12" creationId="{DA512386-2F2A-4C51-A988-663BCC45FCE7}"/>
          </ac:picMkLst>
        </pc:picChg>
        <pc:picChg chg="del">
          <ac:chgData name="Khandelwal, Rahul" userId="a3e3dcc2-f091-47be-b937-7067e8d8998e" providerId="ADAL" clId="{BDA56503-2F5F-4890-A981-3E802E3B1002}" dt="2021-05-23T09:48:53.530" v="649" actId="478"/>
          <ac:picMkLst>
            <pc:docMk/>
            <pc:sldMk cId="3588828647" sldId="1050"/>
            <ac:picMk id="14" creationId="{6FE9B69B-8135-4A55-BE3D-2F845BFE3786}"/>
          </ac:picMkLst>
        </pc:picChg>
        <pc:picChg chg="del">
          <ac:chgData name="Khandelwal, Rahul" userId="a3e3dcc2-f091-47be-b937-7067e8d8998e" providerId="ADAL" clId="{BDA56503-2F5F-4890-A981-3E802E3B1002}" dt="2021-05-23T09:49:01.017" v="653" actId="478"/>
          <ac:picMkLst>
            <pc:docMk/>
            <pc:sldMk cId="3588828647" sldId="1050"/>
            <ac:picMk id="18" creationId="{B57207DB-CC1F-4215-A061-5102FBE9FF2E}"/>
          </ac:picMkLst>
        </pc:picChg>
        <pc:picChg chg="del">
          <ac:chgData name="Khandelwal, Rahul" userId="a3e3dcc2-f091-47be-b937-7067e8d8998e" providerId="ADAL" clId="{BDA56503-2F5F-4890-A981-3E802E3B1002}" dt="2021-05-23T09:49:38.914" v="659" actId="478"/>
          <ac:picMkLst>
            <pc:docMk/>
            <pc:sldMk cId="3588828647" sldId="1050"/>
            <ac:picMk id="20" creationId="{CFFFA1F2-84DF-4BC2-AF70-190D34497486}"/>
          </ac:picMkLst>
        </pc:picChg>
        <pc:picChg chg="del">
          <ac:chgData name="Khandelwal, Rahul" userId="a3e3dcc2-f091-47be-b937-7067e8d8998e" providerId="ADAL" clId="{BDA56503-2F5F-4890-A981-3E802E3B1002}" dt="2021-05-23T10:44:07.164" v="916" actId="478"/>
          <ac:picMkLst>
            <pc:docMk/>
            <pc:sldMk cId="3588828647" sldId="1050"/>
            <ac:picMk id="21" creationId="{B02F87A7-D5C4-4267-9AAE-5808BD502DF6}"/>
          </ac:picMkLst>
        </pc:picChg>
        <pc:picChg chg="del mod">
          <ac:chgData name="Khandelwal, Rahul" userId="a3e3dcc2-f091-47be-b937-7067e8d8998e" providerId="ADAL" clId="{BDA56503-2F5F-4890-A981-3E802E3B1002}" dt="2021-05-23T10:46:06.405" v="930" actId="478"/>
          <ac:picMkLst>
            <pc:docMk/>
            <pc:sldMk cId="3588828647" sldId="1050"/>
            <ac:picMk id="22" creationId="{C5B06298-C380-432D-A530-CE21ABC6B2D2}"/>
          </ac:picMkLst>
        </pc:picChg>
        <pc:picChg chg="del">
          <ac:chgData name="Khandelwal, Rahul" userId="a3e3dcc2-f091-47be-b937-7067e8d8998e" providerId="ADAL" clId="{BDA56503-2F5F-4890-A981-3E802E3B1002}" dt="2021-05-23T09:49:37.367" v="658" actId="478"/>
          <ac:picMkLst>
            <pc:docMk/>
            <pc:sldMk cId="3588828647" sldId="1050"/>
            <ac:picMk id="23" creationId="{C3B47BD9-CA37-4611-8720-8F68C3C027EF}"/>
          </ac:picMkLst>
        </pc:picChg>
        <pc:picChg chg="del">
          <ac:chgData name="Khandelwal, Rahul" userId="a3e3dcc2-f091-47be-b937-7067e8d8998e" providerId="ADAL" clId="{BDA56503-2F5F-4890-A981-3E802E3B1002}" dt="2021-05-23T10:44:10.793" v="919" actId="478"/>
          <ac:picMkLst>
            <pc:docMk/>
            <pc:sldMk cId="3588828647" sldId="1050"/>
            <ac:picMk id="24" creationId="{8F27C65A-62D7-4D28-ABAD-0A08C50D5F3E}"/>
          </ac:picMkLst>
        </pc:picChg>
        <pc:picChg chg="del">
          <ac:chgData name="Khandelwal, Rahul" userId="a3e3dcc2-f091-47be-b937-7067e8d8998e" providerId="ADAL" clId="{BDA56503-2F5F-4890-A981-3E802E3B1002}" dt="2021-05-23T09:49:28.186" v="655" actId="478"/>
          <ac:picMkLst>
            <pc:docMk/>
            <pc:sldMk cId="3588828647" sldId="1050"/>
            <ac:picMk id="25" creationId="{390695D3-54AF-442B-BEF1-2DC791FC54B4}"/>
          </ac:picMkLst>
        </pc:picChg>
        <pc:picChg chg="add del">
          <ac:chgData name="Khandelwal, Rahul" userId="a3e3dcc2-f091-47be-b937-7067e8d8998e" providerId="ADAL" clId="{BDA56503-2F5F-4890-A981-3E802E3B1002}" dt="2021-05-23T10:44:01.198" v="912" actId="478"/>
          <ac:picMkLst>
            <pc:docMk/>
            <pc:sldMk cId="3588828647" sldId="1050"/>
            <ac:picMk id="26" creationId="{4D329343-BAB6-4787-B207-23378C5DED96}"/>
          </ac:picMkLst>
        </pc:picChg>
        <pc:picChg chg="del">
          <ac:chgData name="Khandelwal, Rahul" userId="a3e3dcc2-f091-47be-b937-7067e8d8998e" providerId="ADAL" clId="{BDA56503-2F5F-4890-A981-3E802E3B1002}" dt="2021-05-23T10:44:05.516" v="915" actId="478"/>
          <ac:picMkLst>
            <pc:docMk/>
            <pc:sldMk cId="3588828647" sldId="1050"/>
            <ac:picMk id="27" creationId="{A86B01A0-FD22-4F7A-A5EB-DD71AF0E9C61}"/>
          </ac:picMkLst>
        </pc:picChg>
        <pc:picChg chg="del mod">
          <ac:chgData name="Khandelwal, Rahul" userId="a3e3dcc2-f091-47be-b937-7067e8d8998e" providerId="ADAL" clId="{BDA56503-2F5F-4890-A981-3E802E3B1002}" dt="2021-05-23T10:44:08.754" v="918" actId="478"/>
          <ac:picMkLst>
            <pc:docMk/>
            <pc:sldMk cId="3588828647" sldId="1050"/>
            <ac:picMk id="28" creationId="{B73E13BF-5D72-483F-A609-214EF29B9AF0}"/>
          </ac:picMkLst>
        </pc:picChg>
        <pc:picChg chg="del mod">
          <ac:chgData name="Khandelwal, Rahul" userId="a3e3dcc2-f091-47be-b937-7067e8d8998e" providerId="ADAL" clId="{BDA56503-2F5F-4890-A981-3E802E3B1002}" dt="2021-05-23T10:44:11.841" v="920" actId="478"/>
          <ac:picMkLst>
            <pc:docMk/>
            <pc:sldMk cId="3588828647" sldId="1050"/>
            <ac:picMk id="29" creationId="{037B3942-19A8-4A4C-86CE-686B6B961BED}"/>
          </ac:picMkLst>
        </pc:picChg>
        <pc:picChg chg="del">
          <ac:chgData name="Khandelwal, Rahul" userId="a3e3dcc2-f091-47be-b937-7067e8d8998e" providerId="ADAL" clId="{BDA56503-2F5F-4890-A981-3E802E3B1002}" dt="2021-05-23T09:49:42.107" v="660" actId="478"/>
          <ac:picMkLst>
            <pc:docMk/>
            <pc:sldMk cId="3588828647" sldId="1050"/>
            <ac:picMk id="30" creationId="{49135254-1311-47E2-A9F7-8E0D403546FD}"/>
          </ac:picMkLst>
        </pc:picChg>
        <pc:picChg chg="mod">
          <ac:chgData name="Khandelwal, Rahul" userId="a3e3dcc2-f091-47be-b937-7067e8d8998e" providerId="ADAL" clId="{BDA56503-2F5F-4890-A981-3E802E3B1002}" dt="2021-05-23T10:16:28.616" v="815" actId="1076"/>
          <ac:picMkLst>
            <pc:docMk/>
            <pc:sldMk cId="3588828647" sldId="1050"/>
            <ac:picMk id="31" creationId="{51131613-E53D-4BEC-A4A2-15D7B0CBA30F}"/>
          </ac:picMkLst>
        </pc:picChg>
        <pc:picChg chg="mod">
          <ac:chgData name="Khandelwal, Rahul" userId="a3e3dcc2-f091-47be-b937-7067e8d8998e" providerId="ADAL" clId="{BDA56503-2F5F-4890-A981-3E802E3B1002}" dt="2021-05-23T10:43:41.932" v="906" actId="1076"/>
          <ac:picMkLst>
            <pc:docMk/>
            <pc:sldMk cId="3588828647" sldId="1050"/>
            <ac:picMk id="32" creationId="{2E89EFD9-4410-4F89-8368-B412C42FC22F}"/>
          </ac:picMkLst>
        </pc:picChg>
        <pc:picChg chg="mod">
          <ac:chgData name="Khandelwal, Rahul" userId="a3e3dcc2-f091-47be-b937-7067e8d8998e" providerId="ADAL" clId="{BDA56503-2F5F-4890-A981-3E802E3B1002}" dt="2021-05-23T10:43:41.932" v="906" actId="1076"/>
          <ac:picMkLst>
            <pc:docMk/>
            <pc:sldMk cId="3588828647" sldId="1050"/>
            <ac:picMk id="33" creationId="{22E86D19-F349-4D3E-9F4A-2767F39E9137}"/>
          </ac:picMkLst>
        </pc:picChg>
        <pc:picChg chg="mod">
          <ac:chgData name="Khandelwal, Rahul" userId="a3e3dcc2-f091-47be-b937-7067e8d8998e" providerId="ADAL" clId="{BDA56503-2F5F-4890-A981-3E802E3B1002}" dt="2021-05-23T09:51:00.611" v="668" actId="1076"/>
          <ac:picMkLst>
            <pc:docMk/>
            <pc:sldMk cId="3588828647" sldId="1050"/>
            <ac:picMk id="34" creationId="{BA734BE0-A62A-4CEF-8D23-2D3E12A50F6A}"/>
          </ac:picMkLst>
        </pc:picChg>
        <pc:picChg chg="del">
          <ac:chgData name="Khandelwal, Rahul" userId="a3e3dcc2-f091-47be-b937-7067e8d8998e" providerId="ADAL" clId="{BDA56503-2F5F-4890-A981-3E802E3B1002}" dt="2021-05-23T09:48:58.225" v="651" actId="478"/>
          <ac:picMkLst>
            <pc:docMk/>
            <pc:sldMk cId="3588828647" sldId="1050"/>
            <ac:picMk id="35" creationId="{D0B93284-EEA6-474C-B1BF-F8C3CD4AA190}"/>
          </ac:picMkLst>
        </pc:picChg>
        <pc:picChg chg="del">
          <ac:chgData name="Khandelwal, Rahul" userId="a3e3dcc2-f091-47be-b937-7067e8d8998e" providerId="ADAL" clId="{BDA56503-2F5F-4890-A981-3E802E3B1002}" dt="2021-05-23T09:49:58.503" v="662" actId="478"/>
          <ac:picMkLst>
            <pc:docMk/>
            <pc:sldMk cId="3588828647" sldId="1050"/>
            <ac:picMk id="37" creationId="{206EC66A-5403-4917-B961-FE5458F97398}"/>
          </ac:picMkLst>
        </pc:picChg>
        <pc:picChg chg="mod">
          <ac:chgData name="Khandelwal, Rahul" userId="a3e3dcc2-f091-47be-b937-7067e8d8998e" providerId="ADAL" clId="{BDA56503-2F5F-4890-A981-3E802E3B1002}" dt="2021-05-23T09:51:02.074" v="669" actId="1076"/>
          <ac:picMkLst>
            <pc:docMk/>
            <pc:sldMk cId="3588828647" sldId="1050"/>
            <ac:picMk id="38" creationId="{827E5100-D542-4BA0-8CD2-11389AF46AEF}"/>
          </ac:picMkLst>
        </pc:picChg>
        <pc:picChg chg="mod">
          <ac:chgData name="Khandelwal, Rahul" userId="a3e3dcc2-f091-47be-b937-7067e8d8998e" providerId="ADAL" clId="{BDA56503-2F5F-4890-A981-3E802E3B1002}" dt="2021-05-23T09:51:04.242" v="670" actId="1076"/>
          <ac:picMkLst>
            <pc:docMk/>
            <pc:sldMk cId="3588828647" sldId="1050"/>
            <ac:picMk id="39" creationId="{B42DE0AA-5D81-437D-8CE3-BA87194F9A55}"/>
          </ac:picMkLst>
        </pc:picChg>
        <pc:picChg chg="del mod">
          <ac:chgData name="Khandelwal, Rahul" userId="a3e3dcc2-f091-47be-b937-7067e8d8998e" providerId="ADAL" clId="{BDA56503-2F5F-4890-A981-3E802E3B1002}" dt="2021-05-23T11:02:13.453" v="1212" actId="478"/>
          <ac:picMkLst>
            <pc:docMk/>
            <pc:sldMk cId="3588828647" sldId="1050"/>
            <ac:picMk id="40" creationId="{781398DA-0ADF-4BA6-91A2-D04EB8E115A1}"/>
          </ac:picMkLst>
        </pc:picChg>
        <pc:picChg chg="mod">
          <ac:chgData name="Khandelwal, Rahul" userId="a3e3dcc2-f091-47be-b937-7067e8d8998e" providerId="ADAL" clId="{BDA56503-2F5F-4890-A981-3E802E3B1002}" dt="2021-05-23T09:49:04.884" v="654" actId="1076"/>
          <ac:picMkLst>
            <pc:docMk/>
            <pc:sldMk cId="3588828647" sldId="1050"/>
            <ac:picMk id="41" creationId="{C43C9AB9-FC56-4C21-AD3C-05B30C3B2EAF}"/>
          </ac:picMkLst>
        </pc:picChg>
        <pc:picChg chg="mod">
          <ac:chgData name="Khandelwal, Rahul" userId="a3e3dcc2-f091-47be-b937-7067e8d8998e" providerId="ADAL" clId="{BDA56503-2F5F-4890-A981-3E802E3B1002}" dt="2021-05-23T09:50:57.243" v="667" actId="1076"/>
          <ac:picMkLst>
            <pc:docMk/>
            <pc:sldMk cId="3588828647" sldId="1050"/>
            <ac:picMk id="43" creationId="{98F9913D-B5E8-4087-BBB4-6FECB5D137BD}"/>
          </ac:picMkLst>
        </pc:picChg>
        <pc:picChg chg="mod">
          <ac:chgData name="Khandelwal, Rahul" userId="a3e3dcc2-f091-47be-b937-7067e8d8998e" providerId="ADAL" clId="{BDA56503-2F5F-4890-A981-3E802E3B1002}" dt="2021-05-23T09:50:04.730" v="665" actId="1076"/>
          <ac:picMkLst>
            <pc:docMk/>
            <pc:sldMk cId="3588828647" sldId="1050"/>
            <ac:picMk id="44" creationId="{3FFD8A1F-7AF3-4F89-ABF9-25181A0CA52C}"/>
          </ac:picMkLst>
        </pc:picChg>
        <pc:picChg chg="del">
          <ac:chgData name="Khandelwal, Rahul" userId="a3e3dcc2-f091-47be-b937-7067e8d8998e" providerId="ADAL" clId="{BDA56503-2F5F-4890-A981-3E802E3B1002}" dt="2021-05-23T09:50:02.464" v="664" actId="478"/>
          <ac:picMkLst>
            <pc:docMk/>
            <pc:sldMk cId="3588828647" sldId="1050"/>
            <ac:picMk id="104" creationId="{27DA10E9-15F8-4627-A2D9-B3CE73106C19}"/>
          </ac:picMkLst>
        </pc:picChg>
        <pc:picChg chg="add mod">
          <ac:chgData name="Khandelwal, Rahul" userId="a3e3dcc2-f091-47be-b937-7067e8d8998e" providerId="ADAL" clId="{BDA56503-2F5F-4890-A981-3E802E3B1002}" dt="2021-05-23T10:45:20.627" v="926" actId="1076"/>
          <ac:picMkLst>
            <pc:docMk/>
            <pc:sldMk cId="3588828647" sldId="1050"/>
            <ac:picMk id="24578" creationId="{CB3E28AF-DB15-4003-A5DC-812CCC1D4E3D}"/>
          </ac:picMkLst>
        </pc:picChg>
        <pc:picChg chg="add del mod">
          <ac:chgData name="Khandelwal, Rahul" userId="a3e3dcc2-f091-47be-b937-7067e8d8998e" providerId="ADAL" clId="{BDA56503-2F5F-4890-A981-3E802E3B1002}" dt="2021-05-23T10:46:36.002" v="934" actId="478"/>
          <ac:picMkLst>
            <pc:docMk/>
            <pc:sldMk cId="3588828647" sldId="1050"/>
            <ac:picMk id="24580" creationId="{63607DF8-D111-4B0F-B2F1-04B6A7C00583}"/>
          </ac:picMkLst>
        </pc:picChg>
        <pc:picChg chg="add del mod">
          <ac:chgData name="Khandelwal, Rahul" userId="a3e3dcc2-f091-47be-b937-7067e8d8998e" providerId="ADAL" clId="{BDA56503-2F5F-4890-A981-3E802E3B1002}" dt="2021-05-23T10:48:21.940" v="948" actId="478"/>
          <ac:picMkLst>
            <pc:docMk/>
            <pc:sldMk cId="3588828647" sldId="1050"/>
            <ac:picMk id="24582" creationId="{E76269A4-95DA-4AB3-8868-2E99CEFE70B3}"/>
          </ac:picMkLst>
        </pc:picChg>
        <pc:picChg chg="add del mod">
          <ac:chgData name="Khandelwal, Rahul" userId="a3e3dcc2-f091-47be-b937-7067e8d8998e" providerId="ADAL" clId="{BDA56503-2F5F-4890-A981-3E802E3B1002}" dt="2021-05-23T10:48:20.151" v="947"/>
          <ac:picMkLst>
            <pc:docMk/>
            <pc:sldMk cId="3588828647" sldId="1050"/>
            <ac:picMk id="24584" creationId="{F414779B-0E62-42A5-8C2F-63A0BB1905FB}"/>
          </ac:picMkLst>
        </pc:picChg>
        <pc:picChg chg="add del mod">
          <ac:chgData name="Khandelwal, Rahul" userId="a3e3dcc2-f091-47be-b937-7067e8d8998e" providerId="ADAL" clId="{BDA56503-2F5F-4890-A981-3E802E3B1002}" dt="2021-05-23T10:48:27.678" v="952" actId="478"/>
          <ac:picMkLst>
            <pc:docMk/>
            <pc:sldMk cId="3588828647" sldId="1050"/>
            <ac:picMk id="24586" creationId="{6ED8D5DC-E064-4ED4-8579-732B15ECA6AD}"/>
          </ac:picMkLst>
        </pc:picChg>
        <pc:picChg chg="add del mod">
          <ac:chgData name="Khandelwal, Rahul" userId="a3e3dcc2-f091-47be-b937-7067e8d8998e" providerId="ADAL" clId="{BDA56503-2F5F-4890-A981-3E802E3B1002}" dt="2021-05-23T10:50:33.719" v="1016" actId="478"/>
          <ac:picMkLst>
            <pc:docMk/>
            <pc:sldMk cId="3588828647" sldId="1050"/>
            <ac:picMk id="24588" creationId="{FC0D7533-8295-4625-8969-7D6C437767E0}"/>
          </ac:picMkLst>
        </pc:picChg>
        <pc:picChg chg="add del mod">
          <ac:chgData name="Khandelwal, Rahul" userId="a3e3dcc2-f091-47be-b937-7067e8d8998e" providerId="ADAL" clId="{BDA56503-2F5F-4890-A981-3E802E3B1002}" dt="2021-05-23T10:50:10.806" v="1005"/>
          <ac:picMkLst>
            <pc:docMk/>
            <pc:sldMk cId="3588828647" sldId="1050"/>
            <ac:picMk id="24590" creationId="{33224F5A-233F-4CFE-BF90-06FAA8F6C353}"/>
          </ac:picMkLst>
        </pc:picChg>
        <pc:picChg chg="add mod">
          <ac:chgData name="Khandelwal, Rahul" userId="a3e3dcc2-f091-47be-b937-7067e8d8998e" providerId="ADAL" clId="{BDA56503-2F5F-4890-A981-3E802E3B1002}" dt="2021-05-23T10:50:36.788" v="1017" actId="1076"/>
          <ac:picMkLst>
            <pc:docMk/>
            <pc:sldMk cId="3588828647" sldId="1050"/>
            <ac:picMk id="24592" creationId="{205E7174-129B-4B0D-B342-0FD1D8A872A4}"/>
          </ac:picMkLst>
        </pc:picChg>
        <pc:picChg chg="add del">
          <ac:chgData name="Khandelwal, Rahul" userId="a3e3dcc2-f091-47be-b937-7067e8d8998e" providerId="ADAL" clId="{BDA56503-2F5F-4890-A981-3E802E3B1002}" dt="2021-05-23T10:51:05.352" v="1019" actId="478"/>
          <ac:picMkLst>
            <pc:docMk/>
            <pc:sldMk cId="3588828647" sldId="1050"/>
            <ac:picMk id="24594" creationId="{3177D30F-FA82-4C0E-87CC-F7B80CA282F4}"/>
          </ac:picMkLst>
        </pc:picChg>
        <pc:picChg chg="add del">
          <ac:chgData name="Khandelwal, Rahul" userId="a3e3dcc2-f091-47be-b937-7067e8d8998e" providerId="ADAL" clId="{BDA56503-2F5F-4890-A981-3E802E3B1002}" dt="2021-05-23T10:51:11.691" v="1021" actId="478"/>
          <ac:picMkLst>
            <pc:docMk/>
            <pc:sldMk cId="3588828647" sldId="1050"/>
            <ac:picMk id="24596" creationId="{596F44D9-E511-49FE-936A-F4979B9ECFEC}"/>
          </ac:picMkLst>
        </pc:picChg>
        <pc:picChg chg="add mod">
          <ac:chgData name="Khandelwal, Rahul" userId="a3e3dcc2-f091-47be-b937-7067e8d8998e" providerId="ADAL" clId="{BDA56503-2F5F-4890-A981-3E802E3B1002}" dt="2021-05-23T10:51:43.684" v="1027" actId="1076"/>
          <ac:picMkLst>
            <pc:docMk/>
            <pc:sldMk cId="3588828647" sldId="1050"/>
            <ac:picMk id="24598" creationId="{FF143E15-95D0-48C0-9AE8-D162C3849D8C}"/>
          </ac:picMkLst>
        </pc:picChg>
        <pc:picChg chg="add mod">
          <ac:chgData name="Khandelwal, Rahul" userId="a3e3dcc2-f091-47be-b937-7067e8d8998e" providerId="ADAL" clId="{BDA56503-2F5F-4890-A981-3E802E3B1002}" dt="2021-05-23T11:02:34.320" v="1218" actId="1076"/>
          <ac:picMkLst>
            <pc:docMk/>
            <pc:sldMk cId="3588828647" sldId="1050"/>
            <ac:picMk id="24600" creationId="{98E2172F-840A-42EE-AC50-361320AF2751}"/>
          </ac:picMkLst>
        </pc:picChg>
      </pc:sldChg>
      <pc:sldChg chg="delSp modSp del">
        <pc:chgData name="Khandelwal, Rahul" userId="a3e3dcc2-f091-47be-b937-7067e8d8998e" providerId="ADAL" clId="{BDA56503-2F5F-4890-A981-3E802E3B1002}" dt="2021-05-23T10:16:54.760" v="817" actId="2696"/>
        <pc:sldMkLst>
          <pc:docMk/>
          <pc:sldMk cId="3113555520" sldId="1051"/>
        </pc:sldMkLst>
        <pc:spChg chg="del">
          <ac:chgData name="Khandelwal, Rahul" userId="a3e3dcc2-f091-47be-b937-7067e8d8998e" providerId="ADAL" clId="{BDA56503-2F5F-4890-A981-3E802E3B1002}" dt="2021-05-23T09:03:17.379" v="280" actId="478"/>
          <ac:spMkLst>
            <pc:docMk/>
            <pc:sldMk cId="3113555520" sldId="1051"/>
            <ac:spMk id="13" creationId="{80A9A069-2BA1-4E53-9B49-A04D67FA0C3F}"/>
          </ac:spMkLst>
        </pc:spChg>
        <pc:spChg chg="mod">
          <ac:chgData name="Khandelwal, Rahul" userId="a3e3dcc2-f091-47be-b937-7067e8d8998e" providerId="ADAL" clId="{BDA56503-2F5F-4890-A981-3E802E3B1002}" dt="2021-05-23T08:51:42.411" v="278" actId="20577"/>
          <ac:spMkLst>
            <pc:docMk/>
            <pc:sldMk cId="3113555520" sldId="1051"/>
            <ac:spMk id="14" creationId="{64755E8B-422D-42D1-A8B0-34337F04E437}"/>
          </ac:spMkLst>
        </pc:spChg>
        <pc:spChg chg="del">
          <ac:chgData name="Khandelwal, Rahul" userId="a3e3dcc2-f091-47be-b937-7067e8d8998e" providerId="ADAL" clId="{BDA56503-2F5F-4890-A981-3E802E3B1002}" dt="2021-05-23T09:03:14.570" v="279" actId="478"/>
          <ac:spMkLst>
            <pc:docMk/>
            <pc:sldMk cId="3113555520" sldId="1051"/>
            <ac:spMk id="18" creationId="{2B5FA8C1-3420-4A51-A322-D09D92E329DC}"/>
          </ac:spMkLst>
        </pc:spChg>
      </pc:sldChg>
      <pc:sldChg chg="addSp delSp modSp">
        <pc:chgData name="Khandelwal, Rahul" userId="a3e3dcc2-f091-47be-b937-7067e8d8998e" providerId="ADAL" clId="{BDA56503-2F5F-4890-A981-3E802E3B1002}" dt="2021-05-23T11:01:15.744" v="1210" actId="20577"/>
        <pc:sldMkLst>
          <pc:docMk/>
          <pc:sldMk cId="1937246165" sldId="1052"/>
        </pc:sldMkLst>
        <pc:spChg chg="mod">
          <ac:chgData name="Khandelwal, Rahul" userId="a3e3dcc2-f091-47be-b937-7067e8d8998e" providerId="ADAL" clId="{BDA56503-2F5F-4890-A981-3E802E3B1002}" dt="2021-05-23T09:33:11.258" v="351" actId="14100"/>
          <ac:spMkLst>
            <pc:docMk/>
            <pc:sldMk cId="1937246165" sldId="1052"/>
            <ac:spMk id="2" creationId="{EB259469-3A7A-466B-9E6A-A9EF466BB6B1}"/>
          </ac:spMkLst>
        </pc:spChg>
        <pc:spChg chg="mod">
          <ac:chgData name="Khandelwal, Rahul" userId="a3e3dcc2-f091-47be-b937-7067e8d8998e" providerId="ADAL" clId="{BDA56503-2F5F-4890-A981-3E802E3B1002}" dt="2021-05-23T10:40:02.097" v="827" actId="6549"/>
          <ac:spMkLst>
            <pc:docMk/>
            <pc:sldMk cId="1937246165" sldId="1052"/>
            <ac:spMk id="3" creationId="{B34CEE90-98ED-44D7-88D9-7A0C3D8263B7}"/>
          </ac:spMkLst>
        </pc:spChg>
        <pc:spChg chg="mod">
          <ac:chgData name="Khandelwal, Rahul" userId="a3e3dcc2-f091-47be-b937-7067e8d8998e" providerId="ADAL" clId="{BDA56503-2F5F-4890-A981-3E802E3B1002}" dt="2021-05-23T11:01:15.744" v="1210" actId="20577"/>
          <ac:spMkLst>
            <pc:docMk/>
            <pc:sldMk cId="1937246165" sldId="1052"/>
            <ac:spMk id="4" creationId="{527E0806-218B-441D-9F53-F9258FF81775}"/>
          </ac:spMkLst>
        </pc:spChg>
        <pc:spChg chg="add mod">
          <ac:chgData name="Khandelwal, Rahul" userId="a3e3dcc2-f091-47be-b937-7067e8d8998e" providerId="ADAL" clId="{BDA56503-2F5F-4890-A981-3E802E3B1002}" dt="2021-05-23T10:42:46.144" v="890" actId="20577"/>
          <ac:spMkLst>
            <pc:docMk/>
            <pc:sldMk cId="1937246165" sldId="1052"/>
            <ac:spMk id="8" creationId="{FB6C38E7-A500-4C7B-AF36-FD88DA460098}"/>
          </ac:spMkLst>
        </pc:spChg>
        <pc:spChg chg="add del mod">
          <ac:chgData name="Khandelwal, Rahul" userId="a3e3dcc2-f091-47be-b937-7067e8d8998e" providerId="ADAL" clId="{BDA56503-2F5F-4890-A981-3E802E3B1002}" dt="2021-05-23T10:42:39.818" v="888"/>
          <ac:spMkLst>
            <pc:docMk/>
            <pc:sldMk cId="1937246165" sldId="1052"/>
            <ac:spMk id="9" creationId="{DE71B851-8636-4FB3-A720-18EDD1DB83DC}"/>
          </ac:spMkLst>
        </pc:spChg>
        <pc:spChg chg="add del mod">
          <ac:chgData name="Khandelwal, Rahul" userId="a3e3dcc2-f091-47be-b937-7067e8d8998e" providerId="ADAL" clId="{BDA56503-2F5F-4890-A981-3E802E3B1002}" dt="2021-05-23T10:41:43.718" v="845" actId="478"/>
          <ac:spMkLst>
            <pc:docMk/>
            <pc:sldMk cId="1937246165" sldId="1052"/>
            <ac:spMk id="10" creationId="{10F7B6D6-FEBB-4B00-82D0-2A37C246327F}"/>
          </ac:spMkLst>
        </pc:spChg>
        <pc:graphicFrameChg chg="del">
          <ac:chgData name="Khandelwal, Rahul" userId="a3e3dcc2-f091-47be-b937-7067e8d8998e" providerId="ADAL" clId="{BDA56503-2F5F-4890-A981-3E802E3B1002}" dt="2021-05-23T08:43:44.536" v="17" actId="478"/>
          <ac:graphicFrameMkLst>
            <pc:docMk/>
            <pc:sldMk cId="1937246165" sldId="1052"/>
            <ac:graphicFrameMk id="5" creationId="{6AC9B97D-2224-44C0-8872-353C14F05D1C}"/>
          </ac:graphicFrameMkLst>
        </pc:graphicFrameChg>
        <pc:graphicFrameChg chg="mod">
          <ac:chgData name="Khandelwal, Rahul" userId="a3e3dcc2-f091-47be-b937-7067e8d8998e" providerId="ADAL" clId="{BDA56503-2F5F-4890-A981-3E802E3B1002}" dt="2021-05-23T08:50:30.138" v="228" actId="20577"/>
          <ac:graphicFrameMkLst>
            <pc:docMk/>
            <pc:sldMk cId="1937246165" sldId="1052"/>
            <ac:graphicFrameMk id="6" creationId="{AE1B750D-E81D-46DD-8DE8-2E1FDACCE79D}"/>
          </ac:graphicFrameMkLst>
        </pc:graphicFrameChg>
        <pc:graphicFrameChg chg="add mod modGraphic">
          <ac:chgData name="Khandelwal, Rahul" userId="a3e3dcc2-f091-47be-b937-7067e8d8998e" providerId="ADAL" clId="{BDA56503-2F5F-4890-A981-3E802E3B1002}" dt="2021-05-23T10:52:58.038" v="1029" actId="255"/>
          <ac:graphicFrameMkLst>
            <pc:docMk/>
            <pc:sldMk cId="1937246165" sldId="1052"/>
            <ac:graphicFrameMk id="7" creationId="{F101AABD-79F0-4BD8-8F99-5941D501EEEE}"/>
          </ac:graphicFrameMkLst>
        </pc:graphicFrameChg>
      </pc:sldChg>
      <pc:sldChg chg="modSp add ord">
        <pc:chgData name="Khandelwal, Rahul" userId="a3e3dcc2-f091-47be-b937-7067e8d8998e" providerId="ADAL" clId="{BDA56503-2F5F-4890-A981-3E802E3B1002}" dt="2021-05-23T09:55:44.728" v="682"/>
        <pc:sldMkLst>
          <pc:docMk/>
          <pc:sldMk cId="3378819778" sldId="1987"/>
        </pc:sldMkLst>
        <pc:graphicFrameChg chg="mod">
          <ac:chgData name="Khandelwal, Rahul" userId="a3e3dcc2-f091-47be-b937-7067e8d8998e" providerId="ADAL" clId="{BDA56503-2F5F-4890-A981-3E802E3B1002}" dt="2021-05-23T09:27:46.816" v="347"/>
          <ac:graphicFrameMkLst>
            <pc:docMk/>
            <pc:sldMk cId="3378819778" sldId="1987"/>
            <ac:graphicFrameMk id="22" creationId="{7F439666-E14F-4833-9951-CDCE5B0C4BF8}"/>
          </ac:graphicFrameMkLst>
        </pc:graphicFrameChg>
      </pc:sldChg>
      <pc:sldChg chg="addSp delSp modSp add">
        <pc:chgData name="Khandelwal, Rahul" userId="a3e3dcc2-f091-47be-b937-7067e8d8998e" providerId="ADAL" clId="{BDA56503-2F5F-4890-A981-3E802E3B1002}" dt="2021-05-23T09:56:12.945" v="706" actId="20577"/>
        <pc:sldMkLst>
          <pc:docMk/>
          <pc:sldMk cId="1436470900" sldId="1988"/>
        </pc:sldMkLst>
        <pc:spChg chg="add del mod">
          <ac:chgData name="Khandelwal, Rahul" userId="a3e3dcc2-f091-47be-b937-7067e8d8998e" providerId="ADAL" clId="{BDA56503-2F5F-4890-A981-3E802E3B1002}" dt="2021-05-23T09:56:08.935" v="696"/>
          <ac:spMkLst>
            <pc:docMk/>
            <pc:sldMk cId="1436470900" sldId="1988"/>
            <ac:spMk id="2" creationId="{B75D5CD0-742F-407D-B167-FE453261F2F3}"/>
          </ac:spMkLst>
        </pc:spChg>
        <pc:spChg chg="add del mod">
          <ac:chgData name="Khandelwal, Rahul" userId="a3e3dcc2-f091-47be-b937-7067e8d8998e" providerId="ADAL" clId="{BDA56503-2F5F-4890-A981-3E802E3B1002}" dt="2021-05-23T09:56:08.935" v="696"/>
          <ac:spMkLst>
            <pc:docMk/>
            <pc:sldMk cId="1436470900" sldId="1988"/>
            <ac:spMk id="3" creationId="{B7D482BB-F4DD-4A54-8C8E-1D2ED5113804}"/>
          </ac:spMkLst>
        </pc:spChg>
        <pc:spChg chg="add mod">
          <ac:chgData name="Khandelwal, Rahul" userId="a3e3dcc2-f091-47be-b937-7067e8d8998e" providerId="ADAL" clId="{BDA56503-2F5F-4890-A981-3E802E3B1002}" dt="2021-05-23T09:56:12.945" v="706" actId="20577"/>
          <ac:spMkLst>
            <pc:docMk/>
            <pc:sldMk cId="1436470900" sldId="1988"/>
            <ac:spMk id="4" creationId="{6F106329-ABDA-4530-8E72-4B7BF39B6C50}"/>
          </ac:spMkLst>
        </pc:spChg>
      </pc:sldChg>
      <pc:sldChg chg="add del">
        <pc:chgData name="Khandelwal, Rahul" userId="a3e3dcc2-f091-47be-b937-7067e8d8998e" providerId="ADAL" clId="{BDA56503-2F5F-4890-A981-3E802E3B1002}" dt="2021-05-23T09:55:49.281" v="684"/>
        <pc:sldMkLst>
          <pc:docMk/>
          <pc:sldMk cId="1517329406" sldId="1988"/>
        </pc:sldMkLst>
      </pc:sldChg>
      <pc:sldChg chg="add del">
        <pc:chgData name="Khandelwal, Rahul" userId="a3e3dcc2-f091-47be-b937-7067e8d8998e" providerId="ADAL" clId="{BDA56503-2F5F-4890-A981-3E802E3B1002}" dt="2021-05-23T16:06:10.263" v="1231"/>
        <pc:sldMkLst>
          <pc:docMk/>
          <pc:sldMk cId="1114127279" sldId="1989"/>
        </pc:sldMkLst>
      </pc:sldChg>
      <pc:sldChg chg="add del">
        <pc:chgData name="Khandelwal, Rahul" userId="a3e3dcc2-f091-47be-b937-7067e8d8998e" providerId="ADAL" clId="{BDA56503-2F5F-4890-A981-3E802E3B1002}" dt="2021-05-23T16:06:13.743" v="1234" actId="2696"/>
        <pc:sldMkLst>
          <pc:docMk/>
          <pc:sldMk cId="1298842287" sldId="1989"/>
        </pc:sldMkLst>
      </pc:sldChg>
      <pc:sldChg chg="add ord">
        <pc:chgData name="Khandelwal, Rahul" userId="a3e3dcc2-f091-47be-b937-7067e8d8998e" providerId="ADAL" clId="{BDA56503-2F5F-4890-A981-3E802E3B1002}" dt="2021-05-23T16:16:25.113" v="1238"/>
        <pc:sldMkLst>
          <pc:docMk/>
          <pc:sldMk cId="3622275861" sldId="1989"/>
        </pc:sldMkLst>
      </pc:sldChg>
      <pc:sldMasterChg chg="addSldLayout delSldLayout">
        <pc:chgData name="Khandelwal, Rahul" userId="a3e3dcc2-f091-47be-b937-7067e8d8998e" providerId="ADAL" clId="{BDA56503-2F5F-4890-A981-3E802E3B1002}" dt="2021-05-23T16:06:13.750" v="1235" actId="2696"/>
        <pc:sldMasterMkLst>
          <pc:docMk/>
          <pc:sldMasterMk cId="1484430990" sldId="2147483887"/>
        </pc:sldMasterMkLst>
        <pc:sldLayoutChg chg="add del">
          <pc:chgData name="Khandelwal, Rahul" userId="a3e3dcc2-f091-47be-b937-7067e8d8998e" providerId="ADAL" clId="{BDA56503-2F5F-4890-A981-3E802E3B1002}" dt="2021-05-23T16:06:13.750" v="1235" actId="2696"/>
          <pc:sldLayoutMkLst>
            <pc:docMk/>
            <pc:sldMasterMk cId="1484430990" sldId="2147483887"/>
            <pc:sldLayoutMk cId="2824574584" sldId="2147483957"/>
          </pc:sldLayoutMkLst>
        </pc:sldLayoutChg>
      </pc:sldMasterChg>
      <pc:sldMasterChg chg="del delSldLayout">
        <pc:chgData name="Khandelwal, Rahul" userId="a3e3dcc2-f091-47be-b937-7067e8d8998e" providerId="ADAL" clId="{BDA56503-2F5F-4890-A981-3E802E3B1002}" dt="2021-05-23T09:58:23.940" v="720" actId="2696"/>
        <pc:sldMasterMkLst>
          <pc:docMk/>
          <pc:sldMasterMk cId="1360479903" sldId="2147483930"/>
        </pc:sldMasterMkLst>
        <pc:sldLayoutChg chg="del">
          <pc:chgData name="Khandelwal, Rahul" userId="a3e3dcc2-f091-47be-b937-7067e8d8998e" providerId="ADAL" clId="{BDA56503-2F5F-4890-A981-3E802E3B1002}" dt="2021-05-23T09:58:23.644" v="708" actId="2696"/>
          <pc:sldLayoutMkLst>
            <pc:docMk/>
            <pc:sldMasterMk cId="1360479903" sldId="2147483930"/>
            <pc:sldLayoutMk cId="3085982971" sldId="2147483931"/>
          </pc:sldLayoutMkLst>
        </pc:sldLayoutChg>
        <pc:sldLayoutChg chg="del">
          <pc:chgData name="Khandelwal, Rahul" userId="a3e3dcc2-f091-47be-b937-7067e8d8998e" providerId="ADAL" clId="{BDA56503-2F5F-4890-A981-3E802E3B1002}" dt="2021-05-23T09:58:23.645" v="709" actId="2696"/>
          <pc:sldLayoutMkLst>
            <pc:docMk/>
            <pc:sldMasterMk cId="1360479903" sldId="2147483930"/>
            <pc:sldLayoutMk cId="1619238096" sldId="2147483932"/>
          </pc:sldLayoutMkLst>
        </pc:sldLayoutChg>
        <pc:sldLayoutChg chg="del">
          <pc:chgData name="Khandelwal, Rahul" userId="a3e3dcc2-f091-47be-b937-7067e8d8998e" providerId="ADAL" clId="{BDA56503-2F5F-4890-A981-3E802E3B1002}" dt="2021-05-23T09:58:23.647" v="710" actId="2696"/>
          <pc:sldLayoutMkLst>
            <pc:docMk/>
            <pc:sldMasterMk cId="1360479903" sldId="2147483930"/>
            <pc:sldLayoutMk cId="3083681655" sldId="2147483933"/>
          </pc:sldLayoutMkLst>
        </pc:sldLayoutChg>
        <pc:sldLayoutChg chg="del">
          <pc:chgData name="Khandelwal, Rahul" userId="a3e3dcc2-f091-47be-b937-7067e8d8998e" providerId="ADAL" clId="{BDA56503-2F5F-4890-A981-3E802E3B1002}" dt="2021-05-23T09:58:23.649" v="711" actId="2696"/>
          <pc:sldLayoutMkLst>
            <pc:docMk/>
            <pc:sldMasterMk cId="1360479903" sldId="2147483930"/>
            <pc:sldLayoutMk cId="701406880" sldId="2147483934"/>
          </pc:sldLayoutMkLst>
        </pc:sldLayoutChg>
        <pc:sldLayoutChg chg="del">
          <pc:chgData name="Khandelwal, Rahul" userId="a3e3dcc2-f091-47be-b937-7067e8d8998e" providerId="ADAL" clId="{BDA56503-2F5F-4890-A981-3E802E3B1002}" dt="2021-05-23T09:58:23.678" v="712" actId="2696"/>
          <pc:sldLayoutMkLst>
            <pc:docMk/>
            <pc:sldMasterMk cId="1360479903" sldId="2147483930"/>
            <pc:sldLayoutMk cId="1269662757" sldId="2147483935"/>
          </pc:sldLayoutMkLst>
        </pc:sldLayoutChg>
        <pc:sldLayoutChg chg="del">
          <pc:chgData name="Khandelwal, Rahul" userId="a3e3dcc2-f091-47be-b937-7067e8d8998e" providerId="ADAL" clId="{BDA56503-2F5F-4890-A981-3E802E3B1002}" dt="2021-05-23T09:58:23.721" v="713" actId="2696"/>
          <pc:sldLayoutMkLst>
            <pc:docMk/>
            <pc:sldMasterMk cId="1360479903" sldId="2147483930"/>
            <pc:sldLayoutMk cId="3877110056" sldId="2147483936"/>
          </pc:sldLayoutMkLst>
        </pc:sldLayoutChg>
        <pc:sldLayoutChg chg="del">
          <pc:chgData name="Khandelwal, Rahul" userId="a3e3dcc2-f091-47be-b937-7067e8d8998e" providerId="ADAL" clId="{BDA56503-2F5F-4890-A981-3E802E3B1002}" dt="2021-05-23T09:58:23.724" v="714" actId="2696"/>
          <pc:sldLayoutMkLst>
            <pc:docMk/>
            <pc:sldMasterMk cId="1360479903" sldId="2147483930"/>
            <pc:sldLayoutMk cId="4114248895" sldId="2147483937"/>
          </pc:sldLayoutMkLst>
        </pc:sldLayoutChg>
        <pc:sldLayoutChg chg="del">
          <pc:chgData name="Khandelwal, Rahul" userId="a3e3dcc2-f091-47be-b937-7067e8d8998e" providerId="ADAL" clId="{BDA56503-2F5F-4890-A981-3E802E3B1002}" dt="2021-05-23T09:58:23.725" v="715" actId="2696"/>
          <pc:sldLayoutMkLst>
            <pc:docMk/>
            <pc:sldMasterMk cId="1360479903" sldId="2147483930"/>
            <pc:sldLayoutMk cId="2816763666" sldId="2147483938"/>
          </pc:sldLayoutMkLst>
        </pc:sldLayoutChg>
        <pc:sldLayoutChg chg="del">
          <pc:chgData name="Khandelwal, Rahul" userId="a3e3dcc2-f091-47be-b937-7067e8d8998e" providerId="ADAL" clId="{BDA56503-2F5F-4890-A981-3E802E3B1002}" dt="2021-05-23T09:58:23.741" v="716" actId="2696"/>
          <pc:sldLayoutMkLst>
            <pc:docMk/>
            <pc:sldMasterMk cId="1360479903" sldId="2147483930"/>
            <pc:sldLayoutMk cId="3244033885" sldId="2147483939"/>
          </pc:sldLayoutMkLst>
        </pc:sldLayoutChg>
        <pc:sldLayoutChg chg="del">
          <pc:chgData name="Khandelwal, Rahul" userId="a3e3dcc2-f091-47be-b937-7067e8d8998e" providerId="ADAL" clId="{BDA56503-2F5F-4890-A981-3E802E3B1002}" dt="2021-05-23T09:58:23.792" v="717" actId="2696"/>
          <pc:sldLayoutMkLst>
            <pc:docMk/>
            <pc:sldMasterMk cId="1360479903" sldId="2147483930"/>
            <pc:sldLayoutMk cId="151662219" sldId="2147483940"/>
          </pc:sldLayoutMkLst>
        </pc:sldLayoutChg>
        <pc:sldLayoutChg chg="del">
          <pc:chgData name="Khandelwal, Rahul" userId="a3e3dcc2-f091-47be-b937-7067e8d8998e" providerId="ADAL" clId="{BDA56503-2F5F-4890-A981-3E802E3B1002}" dt="2021-05-23T09:58:23.845" v="718" actId="2696"/>
          <pc:sldLayoutMkLst>
            <pc:docMk/>
            <pc:sldMasterMk cId="1360479903" sldId="2147483930"/>
            <pc:sldLayoutMk cId="2394268324" sldId="2147483941"/>
          </pc:sldLayoutMkLst>
        </pc:sldLayoutChg>
        <pc:sldLayoutChg chg="del">
          <pc:chgData name="Khandelwal, Rahul" userId="a3e3dcc2-f091-47be-b937-7067e8d8998e" providerId="ADAL" clId="{BDA56503-2F5F-4890-A981-3E802E3B1002}" dt="2021-05-23T09:58:23.891" v="719" actId="2696"/>
          <pc:sldLayoutMkLst>
            <pc:docMk/>
            <pc:sldMasterMk cId="1360479903" sldId="2147483930"/>
            <pc:sldLayoutMk cId="3342408271" sldId="2147483942"/>
          </pc:sldLayoutMkLst>
        </pc:sldLayoutChg>
      </pc:sldMasterChg>
    </pc:docChg>
  </pc:docChgLst>
  <pc:docChgLst>
    <pc:chgData name="Deshpande, Onkar" userId="2b8835b5-0145-42fe-9c31-9a7f19b342c0" providerId="ADAL" clId="{2673C553-2D46-4EDC-82F0-D48C3B05572A}"/>
    <pc:docChg chg="modSld">
      <pc:chgData name="Deshpande, Onkar" userId="2b8835b5-0145-42fe-9c31-9a7f19b342c0" providerId="ADAL" clId="{2673C553-2D46-4EDC-82F0-D48C3B05572A}" dt="2021-06-23T05:55:56.117" v="1" actId="1076"/>
      <pc:docMkLst>
        <pc:docMk/>
      </pc:docMkLst>
      <pc:sldChg chg="modSp">
        <pc:chgData name="Deshpande, Onkar" userId="2b8835b5-0145-42fe-9c31-9a7f19b342c0" providerId="ADAL" clId="{2673C553-2D46-4EDC-82F0-D48C3B05572A}" dt="2021-06-23T05:55:56.117" v="1" actId="1076"/>
        <pc:sldMkLst>
          <pc:docMk/>
          <pc:sldMk cId="3622275861" sldId="1989"/>
        </pc:sldMkLst>
        <pc:spChg chg="mod">
          <ac:chgData name="Deshpande, Onkar" userId="2b8835b5-0145-42fe-9c31-9a7f19b342c0" providerId="ADAL" clId="{2673C553-2D46-4EDC-82F0-D48C3B05572A}" dt="2021-06-23T05:52:49.095" v="0" actId="14100"/>
          <ac:spMkLst>
            <pc:docMk/>
            <pc:sldMk cId="3622275861" sldId="1989"/>
            <ac:spMk id="7175" creationId="{BADEA8C0-D1A3-4608-9E63-683339DCC944}"/>
          </ac:spMkLst>
        </pc:spChg>
        <pc:picChg chg="mod">
          <ac:chgData name="Deshpande, Onkar" userId="2b8835b5-0145-42fe-9c31-9a7f19b342c0" providerId="ADAL" clId="{2673C553-2D46-4EDC-82F0-D48C3B05572A}" dt="2021-06-23T05:55:56.117" v="1" actId="1076"/>
          <ac:picMkLst>
            <pc:docMk/>
            <pc:sldMk cId="3622275861" sldId="1989"/>
            <ac:picMk id="7182" creationId="{89622B52-B834-40D0-9BA5-24EF14F2A61E}"/>
          </ac:picMkLst>
        </pc:picChg>
      </pc:sldChg>
    </pc:docChg>
  </pc:docChgLst>
  <pc:docChgLst>
    <pc:chgData name="Khandelwal, Rahul" userId="a3e3dcc2-f091-47be-b937-7067e8d8998e" providerId="ADAL" clId="{AC50A7E9-CB84-4BF0-AD9D-B7BA5EC23CA2}"/>
    <pc:docChg chg="undo custSel addSld delSld modSld sldOrd modSection">
      <pc:chgData name="Khandelwal, Rahul" userId="a3e3dcc2-f091-47be-b937-7067e8d8998e" providerId="ADAL" clId="{AC50A7E9-CB84-4BF0-AD9D-B7BA5EC23CA2}" dt="2021-05-24T06:33:29.262" v="2314" actId="20577"/>
      <pc:docMkLst>
        <pc:docMk/>
      </pc:docMkLst>
      <pc:sldChg chg="addSp modSp del ord">
        <pc:chgData name="Khandelwal, Rahul" userId="a3e3dcc2-f091-47be-b937-7067e8d8998e" providerId="ADAL" clId="{AC50A7E9-CB84-4BF0-AD9D-B7BA5EC23CA2}" dt="2021-05-22T14:24:15.219" v="1767" actId="2696"/>
        <pc:sldMkLst>
          <pc:docMk/>
          <pc:sldMk cId="2925443055" sldId="293"/>
        </pc:sldMkLst>
        <pc:spChg chg="add mod ord">
          <ac:chgData name="Khandelwal, Rahul" userId="a3e3dcc2-f091-47be-b937-7067e8d8998e" providerId="ADAL" clId="{AC50A7E9-CB84-4BF0-AD9D-B7BA5EC23CA2}" dt="2021-05-22T10:08:39.681" v="583" actId="207"/>
          <ac:spMkLst>
            <pc:docMk/>
            <pc:sldMk cId="2925443055" sldId="293"/>
            <ac:spMk id="2" creationId="{EB259469-3A7A-466B-9E6A-A9EF466BB6B1}"/>
          </ac:spMkLst>
        </pc:spChg>
        <pc:spChg chg="add mod">
          <ac:chgData name="Khandelwal, Rahul" userId="a3e3dcc2-f091-47be-b937-7067e8d8998e" providerId="ADAL" clId="{AC50A7E9-CB84-4BF0-AD9D-B7BA5EC23CA2}" dt="2021-05-22T14:08:26.572" v="1407" actId="1076"/>
          <ac:spMkLst>
            <pc:docMk/>
            <pc:sldMk cId="2925443055" sldId="293"/>
            <ac:spMk id="3" creationId="{B34CEE90-98ED-44D7-88D9-7A0C3D8263B7}"/>
          </ac:spMkLst>
        </pc:spChg>
        <pc:spChg chg="mod">
          <ac:chgData name="Khandelwal, Rahul" userId="a3e3dcc2-f091-47be-b937-7067e8d8998e" providerId="ADAL" clId="{AC50A7E9-CB84-4BF0-AD9D-B7BA5EC23CA2}" dt="2021-05-22T10:46:47.217" v="901" actId="20577"/>
          <ac:spMkLst>
            <pc:docMk/>
            <pc:sldMk cId="2925443055" sldId="293"/>
            <ac:spMk id="4" creationId="{527E0806-218B-441D-9F53-F9258FF81775}"/>
          </ac:spMkLst>
        </pc:spChg>
        <pc:spChg chg="add">
          <ac:chgData name="Khandelwal, Rahul" userId="a3e3dcc2-f091-47be-b937-7067e8d8998e" providerId="ADAL" clId="{AC50A7E9-CB84-4BF0-AD9D-B7BA5EC23CA2}" dt="2021-05-22T10:07:36.450" v="572"/>
          <ac:spMkLst>
            <pc:docMk/>
            <pc:sldMk cId="2925443055" sldId="293"/>
            <ac:spMk id="7" creationId="{9CFDE66A-37D4-4BFE-A429-00CE9E2D6B7A}"/>
          </ac:spMkLst>
        </pc:spChg>
        <pc:spChg chg="add">
          <ac:chgData name="Khandelwal, Rahul" userId="a3e3dcc2-f091-47be-b937-7067e8d8998e" providerId="ADAL" clId="{AC50A7E9-CB84-4BF0-AD9D-B7BA5EC23CA2}" dt="2021-05-22T10:07:36.450" v="572"/>
          <ac:spMkLst>
            <pc:docMk/>
            <pc:sldMk cId="2925443055" sldId="293"/>
            <ac:spMk id="8" creationId="{5D183257-D8EC-4897-8DBA-2D977034E8EC}"/>
          </ac:spMkLst>
        </pc:spChg>
        <pc:grpChg chg="add mod">
          <ac:chgData name="Khandelwal, Rahul" userId="a3e3dcc2-f091-47be-b937-7067e8d8998e" providerId="ADAL" clId="{AC50A7E9-CB84-4BF0-AD9D-B7BA5EC23CA2}" dt="2021-05-22T10:07:37.668" v="573"/>
          <ac:grpSpMkLst>
            <pc:docMk/>
            <pc:sldMk cId="2925443055" sldId="293"/>
            <ac:grpSpMk id="5" creationId="{83AA4103-90E4-499E-8943-D2826C696A33}"/>
          </ac:grpSpMkLst>
        </pc:grpChg>
        <pc:graphicFrameChg chg="mod">
          <ac:chgData name="Khandelwal, Rahul" userId="a3e3dcc2-f091-47be-b937-7067e8d8998e" providerId="ADAL" clId="{AC50A7E9-CB84-4BF0-AD9D-B7BA5EC23CA2}" dt="2021-05-22T10:09:37.848" v="622" actId="20577"/>
          <ac:graphicFrameMkLst>
            <pc:docMk/>
            <pc:sldMk cId="2925443055" sldId="293"/>
            <ac:graphicFrameMk id="6" creationId="{AE1B750D-E81D-46DD-8DE8-2E1FDACCE79D}"/>
          </ac:graphicFrameMkLst>
        </pc:graphicFrameChg>
        <pc:graphicFrameChg chg="add mod">
          <ac:chgData name="Khandelwal, Rahul" userId="a3e3dcc2-f091-47be-b937-7067e8d8998e" providerId="ADAL" clId="{AC50A7E9-CB84-4BF0-AD9D-B7BA5EC23CA2}" dt="2021-05-22T14:19:41.755" v="1514" actId="478"/>
          <ac:graphicFrameMkLst>
            <pc:docMk/>
            <pc:sldMk cId="2925443055" sldId="293"/>
            <ac:graphicFrameMk id="9" creationId="{BCEE4EDF-47E0-4948-A5C6-AA56E2739804}"/>
          </ac:graphicFrameMkLst>
        </pc:graphicFrameChg>
      </pc:sldChg>
      <pc:sldChg chg="addSp delSp modSp ord">
        <pc:chgData name="Khandelwal, Rahul" userId="a3e3dcc2-f091-47be-b937-7067e8d8998e" providerId="ADAL" clId="{AC50A7E9-CB84-4BF0-AD9D-B7BA5EC23CA2}" dt="2021-05-22T10:11:33.018" v="677" actId="478"/>
        <pc:sldMkLst>
          <pc:docMk/>
          <pc:sldMk cId="2017671847" sldId="297"/>
        </pc:sldMkLst>
        <pc:graphicFrameChg chg="add del mod">
          <ac:chgData name="Khandelwal, Rahul" userId="a3e3dcc2-f091-47be-b937-7067e8d8998e" providerId="ADAL" clId="{AC50A7E9-CB84-4BF0-AD9D-B7BA5EC23CA2}" dt="2021-05-22T10:11:33.018" v="677" actId="478"/>
          <ac:graphicFrameMkLst>
            <pc:docMk/>
            <pc:sldMk cId="2017671847" sldId="297"/>
            <ac:graphicFrameMk id="58" creationId="{97605CBC-7B6A-4A96-9D15-275DBCDABD7E}"/>
          </ac:graphicFrameMkLst>
        </pc:graphicFrameChg>
      </pc:sldChg>
      <pc:sldChg chg="addSp delSp modSp ord">
        <pc:chgData name="Khandelwal, Rahul" userId="a3e3dcc2-f091-47be-b937-7067e8d8998e" providerId="ADAL" clId="{AC50A7E9-CB84-4BF0-AD9D-B7BA5EC23CA2}" dt="2021-05-22T14:14:37.470" v="1476" actId="14734"/>
        <pc:sldMkLst>
          <pc:docMk/>
          <pc:sldMk cId="3440605736" sldId="1048"/>
        </pc:sldMkLst>
        <pc:spChg chg="mod">
          <ac:chgData name="Khandelwal, Rahul" userId="a3e3dcc2-f091-47be-b937-7067e8d8998e" providerId="ADAL" clId="{AC50A7E9-CB84-4BF0-AD9D-B7BA5EC23CA2}" dt="2021-05-22T11:03:25.651" v="1334" actId="20577"/>
          <ac:spMkLst>
            <pc:docMk/>
            <pc:sldMk cId="3440605736" sldId="1048"/>
            <ac:spMk id="2" creationId="{5E9DF378-2BB0-46F8-9CE5-2BB614DEC28E}"/>
          </ac:spMkLst>
        </pc:spChg>
        <pc:spChg chg="mod">
          <ac:chgData name="Khandelwal, Rahul" userId="a3e3dcc2-f091-47be-b937-7067e8d8998e" providerId="ADAL" clId="{AC50A7E9-CB84-4BF0-AD9D-B7BA5EC23CA2}" dt="2021-05-22T11:04:34.444" v="1354" actId="404"/>
          <ac:spMkLst>
            <pc:docMk/>
            <pc:sldMk cId="3440605736" sldId="1048"/>
            <ac:spMk id="3" creationId="{EE8224EB-8B81-4BEB-B1EB-748CD7290948}"/>
          </ac:spMkLst>
        </pc:spChg>
        <pc:spChg chg="add del">
          <ac:chgData name="Khandelwal, Rahul" userId="a3e3dcc2-f091-47be-b937-7067e8d8998e" providerId="ADAL" clId="{AC50A7E9-CB84-4BF0-AD9D-B7BA5EC23CA2}" dt="2021-05-22T14:13:12.683" v="1409"/>
          <ac:spMkLst>
            <pc:docMk/>
            <pc:sldMk cId="3440605736" sldId="1048"/>
            <ac:spMk id="5" creationId="{36428903-C95E-4135-A234-BB617E3327C2}"/>
          </ac:spMkLst>
        </pc:spChg>
        <pc:spChg chg="add del">
          <ac:chgData name="Khandelwal, Rahul" userId="a3e3dcc2-f091-47be-b937-7067e8d8998e" providerId="ADAL" clId="{AC50A7E9-CB84-4BF0-AD9D-B7BA5EC23CA2}" dt="2021-05-22T14:13:12.683" v="1409"/>
          <ac:spMkLst>
            <pc:docMk/>
            <pc:sldMk cId="3440605736" sldId="1048"/>
            <ac:spMk id="7" creationId="{70298448-AC40-487A-8F49-2D13620FD3AD}"/>
          </ac:spMkLst>
        </pc:spChg>
        <pc:spChg chg="add del">
          <ac:chgData name="Khandelwal, Rahul" userId="a3e3dcc2-f091-47be-b937-7067e8d8998e" providerId="ADAL" clId="{AC50A7E9-CB84-4BF0-AD9D-B7BA5EC23CA2}" dt="2021-05-22T14:13:12.683" v="1409"/>
          <ac:spMkLst>
            <pc:docMk/>
            <pc:sldMk cId="3440605736" sldId="1048"/>
            <ac:spMk id="8" creationId="{82F3CEDE-B585-4BF0-BC2B-247547D6C43A}"/>
          </ac:spMkLst>
        </pc:spChg>
        <pc:spChg chg="add del">
          <ac:chgData name="Khandelwal, Rahul" userId="a3e3dcc2-f091-47be-b937-7067e8d8998e" providerId="ADAL" clId="{AC50A7E9-CB84-4BF0-AD9D-B7BA5EC23CA2}" dt="2021-05-22T14:13:12.683" v="1409"/>
          <ac:spMkLst>
            <pc:docMk/>
            <pc:sldMk cId="3440605736" sldId="1048"/>
            <ac:spMk id="9" creationId="{7FEC849B-7B38-4279-A402-CD51775895AB}"/>
          </ac:spMkLst>
        </pc:spChg>
        <pc:spChg chg="add del">
          <ac:chgData name="Khandelwal, Rahul" userId="a3e3dcc2-f091-47be-b937-7067e8d8998e" providerId="ADAL" clId="{AC50A7E9-CB84-4BF0-AD9D-B7BA5EC23CA2}" dt="2021-05-22T14:13:12.683" v="1409"/>
          <ac:spMkLst>
            <pc:docMk/>
            <pc:sldMk cId="3440605736" sldId="1048"/>
            <ac:spMk id="10" creationId="{C27A656D-3963-40D3-849E-4966A47BE531}"/>
          </ac:spMkLst>
        </pc:spChg>
        <pc:spChg chg="add del">
          <ac:chgData name="Khandelwal, Rahul" userId="a3e3dcc2-f091-47be-b937-7067e8d8998e" providerId="ADAL" clId="{AC50A7E9-CB84-4BF0-AD9D-B7BA5EC23CA2}" dt="2021-05-22T14:13:12.683" v="1409"/>
          <ac:spMkLst>
            <pc:docMk/>
            <pc:sldMk cId="3440605736" sldId="1048"/>
            <ac:spMk id="39" creationId="{C3CE7F23-D6FD-4C52-8CC8-C80114650827}"/>
          </ac:spMkLst>
        </pc:spChg>
        <pc:spChg chg="add del">
          <ac:chgData name="Khandelwal, Rahul" userId="a3e3dcc2-f091-47be-b937-7067e8d8998e" providerId="ADAL" clId="{AC50A7E9-CB84-4BF0-AD9D-B7BA5EC23CA2}" dt="2021-05-22T14:13:12.683" v="1409"/>
          <ac:spMkLst>
            <pc:docMk/>
            <pc:sldMk cId="3440605736" sldId="1048"/>
            <ac:spMk id="48" creationId="{7606B037-AD40-4739-9CC7-1952E7C0ACB9}"/>
          </ac:spMkLst>
        </pc:spChg>
        <pc:spChg chg="add del">
          <ac:chgData name="Khandelwal, Rahul" userId="a3e3dcc2-f091-47be-b937-7067e8d8998e" providerId="ADAL" clId="{AC50A7E9-CB84-4BF0-AD9D-B7BA5EC23CA2}" dt="2021-05-22T14:13:12.683" v="1409"/>
          <ac:spMkLst>
            <pc:docMk/>
            <pc:sldMk cId="3440605736" sldId="1048"/>
            <ac:spMk id="49" creationId="{6D184287-E09D-464A-BE3B-85914E264AB4}"/>
          </ac:spMkLst>
        </pc:spChg>
        <pc:spChg chg="add del">
          <ac:chgData name="Khandelwal, Rahul" userId="a3e3dcc2-f091-47be-b937-7067e8d8998e" providerId="ADAL" clId="{AC50A7E9-CB84-4BF0-AD9D-B7BA5EC23CA2}" dt="2021-05-22T14:13:12.683" v="1409"/>
          <ac:spMkLst>
            <pc:docMk/>
            <pc:sldMk cId="3440605736" sldId="1048"/>
            <ac:spMk id="50" creationId="{EC8426CD-1C26-4B11-B882-A3CBD78CB2EE}"/>
          </ac:spMkLst>
        </pc:spChg>
        <pc:spChg chg="add del">
          <ac:chgData name="Khandelwal, Rahul" userId="a3e3dcc2-f091-47be-b937-7067e8d8998e" providerId="ADAL" clId="{AC50A7E9-CB84-4BF0-AD9D-B7BA5EC23CA2}" dt="2021-05-22T14:13:12.683" v="1409"/>
          <ac:spMkLst>
            <pc:docMk/>
            <pc:sldMk cId="3440605736" sldId="1048"/>
            <ac:spMk id="51" creationId="{2CF2872D-411B-4EB3-93A8-26473671C2B9}"/>
          </ac:spMkLst>
        </pc:spChg>
        <pc:spChg chg="add del">
          <ac:chgData name="Khandelwal, Rahul" userId="a3e3dcc2-f091-47be-b937-7067e8d8998e" providerId="ADAL" clId="{AC50A7E9-CB84-4BF0-AD9D-B7BA5EC23CA2}" dt="2021-05-22T14:13:12.683" v="1409"/>
          <ac:spMkLst>
            <pc:docMk/>
            <pc:sldMk cId="3440605736" sldId="1048"/>
            <ac:spMk id="52" creationId="{C14B5A6B-F262-41D4-BA92-E848C7EA8683}"/>
          </ac:spMkLst>
        </pc:spChg>
        <pc:spChg chg="add del">
          <ac:chgData name="Khandelwal, Rahul" userId="a3e3dcc2-f091-47be-b937-7067e8d8998e" providerId="ADAL" clId="{AC50A7E9-CB84-4BF0-AD9D-B7BA5EC23CA2}" dt="2021-05-22T14:13:12.683" v="1409"/>
          <ac:spMkLst>
            <pc:docMk/>
            <pc:sldMk cId="3440605736" sldId="1048"/>
            <ac:spMk id="53" creationId="{E4DD3BA8-F60E-450A-9F06-814CF5CF73BE}"/>
          </ac:spMkLst>
        </pc:spChg>
        <pc:spChg chg="add del">
          <ac:chgData name="Khandelwal, Rahul" userId="a3e3dcc2-f091-47be-b937-7067e8d8998e" providerId="ADAL" clId="{AC50A7E9-CB84-4BF0-AD9D-B7BA5EC23CA2}" dt="2021-05-22T14:13:12.683" v="1409"/>
          <ac:spMkLst>
            <pc:docMk/>
            <pc:sldMk cId="3440605736" sldId="1048"/>
            <ac:spMk id="54" creationId="{07594245-24A5-421A-959A-645BD1FEA82A}"/>
          </ac:spMkLst>
        </pc:spChg>
        <pc:spChg chg="add del">
          <ac:chgData name="Khandelwal, Rahul" userId="a3e3dcc2-f091-47be-b937-7067e8d8998e" providerId="ADAL" clId="{AC50A7E9-CB84-4BF0-AD9D-B7BA5EC23CA2}" dt="2021-05-22T14:13:12.683" v="1409"/>
          <ac:spMkLst>
            <pc:docMk/>
            <pc:sldMk cId="3440605736" sldId="1048"/>
            <ac:spMk id="55" creationId="{0141181C-5E3D-4193-AF8F-1B5C88C247C0}"/>
          </ac:spMkLst>
        </pc:spChg>
        <pc:spChg chg="add del">
          <ac:chgData name="Khandelwal, Rahul" userId="a3e3dcc2-f091-47be-b937-7067e8d8998e" providerId="ADAL" clId="{AC50A7E9-CB84-4BF0-AD9D-B7BA5EC23CA2}" dt="2021-05-22T14:13:12.683" v="1409"/>
          <ac:spMkLst>
            <pc:docMk/>
            <pc:sldMk cId="3440605736" sldId="1048"/>
            <ac:spMk id="56" creationId="{04B48167-7E02-4AEE-B20C-98E079C77697}"/>
          </ac:spMkLst>
        </pc:spChg>
        <pc:spChg chg="add del">
          <ac:chgData name="Khandelwal, Rahul" userId="a3e3dcc2-f091-47be-b937-7067e8d8998e" providerId="ADAL" clId="{AC50A7E9-CB84-4BF0-AD9D-B7BA5EC23CA2}" dt="2021-05-22T14:13:12.683" v="1409"/>
          <ac:spMkLst>
            <pc:docMk/>
            <pc:sldMk cId="3440605736" sldId="1048"/>
            <ac:spMk id="99" creationId="{85529D89-DA5E-469B-8A7B-EDDFDF6E3A7E}"/>
          </ac:spMkLst>
        </pc:spChg>
        <pc:grpChg chg="add del">
          <ac:chgData name="Khandelwal, Rahul" userId="a3e3dcc2-f091-47be-b937-7067e8d8998e" providerId="ADAL" clId="{AC50A7E9-CB84-4BF0-AD9D-B7BA5EC23CA2}" dt="2021-05-22T14:13:12.683" v="1409"/>
          <ac:grpSpMkLst>
            <pc:docMk/>
            <pc:sldMk cId="3440605736" sldId="1048"/>
            <ac:grpSpMk id="22" creationId="{2B6B10D1-4E69-468E-A62B-2BFA140AE41F}"/>
          </ac:grpSpMkLst>
        </pc:grpChg>
        <pc:grpChg chg="add del">
          <ac:chgData name="Khandelwal, Rahul" userId="a3e3dcc2-f091-47be-b937-7067e8d8998e" providerId="ADAL" clId="{AC50A7E9-CB84-4BF0-AD9D-B7BA5EC23CA2}" dt="2021-05-22T14:13:12.683" v="1409"/>
          <ac:grpSpMkLst>
            <pc:docMk/>
            <pc:sldMk cId="3440605736" sldId="1048"/>
            <ac:grpSpMk id="57" creationId="{11E371B6-0EDD-4C5A-9E4B-786B62FC588A}"/>
          </ac:grpSpMkLst>
        </pc:grpChg>
        <pc:graphicFrameChg chg="mod modGraphic">
          <ac:chgData name="Khandelwal, Rahul" userId="a3e3dcc2-f091-47be-b937-7067e8d8998e" providerId="ADAL" clId="{AC50A7E9-CB84-4BF0-AD9D-B7BA5EC23CA2}" dt="2021-05-22T14:14:37.470" v="1476" actId="14734"/>
          <ac:graphicFrameMkLst>
            <pc:docMk/>
            <pc:sldMk cId="3440605736" sldId="1048"/>
            <ac:graphicFrameMk id="6" creationId="{08AAB50B-73FA-4BB2-BC4C-82295B610004}"/>
          </ac:graphicFrameMkLst>
        </pc:graphicFrameChg>
        <pc:picChg chg="add del">
          <ac:chgData name="Khandelwal, Rahul" userId="a3e3dcc2-f091-47be-b937-7067e8d8998e" providerId="ADAL" clId="{AC50A7E9-CB84-4BF0-AD9D-B7BA5EC23CA2}" dt="2021-05-22T14:13:12.683" v="1409"/>
          <ac:picMkLst>
            <pc:docMk/>
            <pc:sldMk cId="3440605736" sldId="1048"/>
            <ac:picMk id="11" creationId="{F0158A11-8532-407B-AE9A-98EB55B8E1EE}"/>
          </ac:picMkLst>
        </pc:picChg>
        <pc:picChg chg="add del">
          <ac:chgData name="Khandelwal, Rahul" userId="a3e3dcc2-f091-47be-b937-7067e8d8998e" providerId="ADAL" clId="{AC50A7E9-CB84-4BF0-AD9D-B7BA5EC23CA2}" dt="2021-05-22T14:13:12.683" v="1409"/>
          <ac:picMkLst>
            <pc:docMk/>
            <pc:sldMk cId="3440605736" sldId="1048"/>
            <ac:picMk id="12" creationId="{14C40314-D0E5-4667-8058-C26EDAF321AB}"/>
          </ac:picMkLst>
        </pc:picChg>
        <pc:picChg chg="add del">
          <ac:chgData name="Khandelwal, Rahul" userId="a3e3dcc2-f091-47be-b937-7067e8d8998e" providerId="ADAL" clId="{AC50A7E9-CB84-4BF0-AD9D-B7BA5EC23CA2}" dt="2021-05-22T14:13:12.683" v="1409"/>
          <ac:picMkLst>
            <pc:docMk/>
            <pc:sldMk cId="3440605736" sldId="1048"/>
            <ac:picMk id="13" creationId="{DE9CB012-0F53-41B9-9F81-0A95C05188FE}"/>
          </ac:picMkLst>
        </pc:picChg>
        <pc:picChg chg="add del">
          <ac:chgData name="Khandelwal, Rahul" userId="a3e3dcc2-f091-47be-b937-7067e8d8998e" providerId="ADAL" clId="{AC50A7E9-CB84-4BF0-AD9D-B7BA5EC23CA2}" dt="2021-05-22T14:13:12.683" v="1409"/>
          <ac:picMkLst>
            <pc:docMk/>
            <pc:sldMk cId="3440605736" sldId="1048"/>
            <ac:picMk id="14" creationId="{6DA8C24D-A2D6-495F-94B6-93D87A732874}"/>
          </ac:picMkLst>
        </pc:picChg>
        <pc:picChg chg="add del">
          <ac:chgData name="Khandelwal, Rahul" userId="a3e3dcc2-f091-47be-b937-7067e8d8998e" providerId="ADAL" clId="{AC50A7E9-CB84-4BF0-AD9D-B7BA5EC23CA2}" dt="2021-05-22T14:13:12.683" v="1409"/>
          <ac:picMkLst>
            <pc:docMk/>
            <pc:sldMk cId="3440605736" sldId="1048"/>
            <ac:picMk id="15" creationId="{23E23A67-93BB-45DA-876A-EC63A8AA5EA6}"/>
          </ac:picMkLst>
        </pc:picChg>
        <pc:picChg chg="add del">
          <ac:chgData name="Khandelwal, Rahul" userId="a3e3dcc2-f091-47be-b937-7067e8d8998e" providerId="ADAL" clId="{AC50A7E9-CB84-4BF0-AD9D-B7BA5EC23CA2}" dt="2021-05-22T14:13:12.683" v="1409"/>
          <ac:picMkLst>
            <pc:docMk/>
            <pc:sldMk cId="3440605736" sldId="1048"/>
            <ac:picMk id="16" creationId="{A8CC7BE9-1C76-42D6-BFAB-49D7EA302FFE}"/>
          </ac:picMkLst>
        </pc:picChg>
        <pc:picChg chg="add del">
          <ac:chgData name="Khandelwal, Rahul" userId="a3e3dcc2-f091-47be-b937-7067e8d8998e" providerId="ADAL" clId="{AC50A7E9-CB84-4BF0-AD9D-B7BA5EC23CA2}" dt="2021-05-22T14:13:12.683" v="1409"/>
          <ac:picMkLst>
            <pc:docMk/>
            <pc:sldMk cId="3440605736" sldId="1048"/>
            <ac:picMk id="17" creationId="{7A21603B-7AEA-41B9-AFBF-0B181ECBD3F7}"/>
          </ac:picMkLst>
        </pc:picChg>
        <pc:picChg chg="add del">
          <ac:chgData name="Khandelwal, Rahul" userId="a3e3dcc2-f091-47be-b937-7067e8d8998e" providerId="ADAL" clId="{AC50A7E9-CB84-4BF0-AD9D-B7BA5EC23CA2}" dt="2021-05-22T14:13:12.683" v="1409"/>
          <ac:picMkLst>
            <pc:docMk/>
            <pc:sldMk cId="3440605736" sldId="1048"/>
            <ac:picMk id="18" creationId="{2FA49DA3-ABBA-4708-A6E6-8E5F61B3CC84}"/>
          </ac:picMkLst>
        </pc:picChg>
        <pc:picChg chg="add del">
          <ac:chgData name="Khandelwal, Rahul" userId="a3e3dcc2-f091-47be-b937-7067e8d8998e" providerId="ADAL" clId="{AC50A7E9-CB84-4BF0-AD9D-B7BA5EC23CA2}" dt="2021-05-22T14:13:12.683" v="1409"/>
          <ac:picMkLst>
            <pc:docMk/>
            <pc:sldMk cId="3440605736" sldId="1048"/>
            <ac:picMk id="19" creationId="{84482F67-A89D-467B-80E1-8A82B357ABD2}"/>
          </ac:picMkLst>
        </pc:picChg>
        <pc:picChg chg="add del">
          <ac:chgData name="Khandelwal, Rahul" userId="a3e3dcc2-f091-47be-b937-7067e8d8998e" providerId="ADAL" clId="{AC50A7E9-CB84-4BF0-AD9D-B7BA5EC23CA2}" dt="2021-05-22T14:13:12.683" v="1409"/>
          <ac:picMkLst>
            <pc:docMk/>
            <pc:sldMk cId="3440605736" sldId="1048"/>
            <ac:picMk id="20" creationId="{EED264FF-8E06-4871-8366-6D299B2DB5AE}"/>
          </ac:picMkLst>
        </pc:picChg>
        <pc:picChg chg="add del">
          <ac:chgData name="Khandelwal, Rahul" userId="a3e3dcc2-f091-47be-b937-7067e8d8998e" providerId="ADAL" clId="{AC50A7E9-CB84-4BF0-AD9D-B7BA5EC23CA2}" dt="2021-05-22T14:13:12.683" v="1409"/>
          <ac:picMkLst>
            <pc:docMk/>
            <pc:sldMk cId="3440605736" sldId="1048"/>
            <ac:picMk id="21" creationId="{260C1526-1C71-477C-B7EA-D6FED4CADE76}"/>
          </ac:picMkLst>
        </pc:picChg>
        <pc:picChg chg="add del">
          <ac:chgData name="Khandelwal, Rahul" userId="a3e3dcc2-f091-47be-b937-7067e8d8998e" providerId="ADAL" clId="{AC50A7E9-CB84-4BF0-AD9D-B7BA5EC23CA2}" dt="2021-05-22T14:13:12.683" v="1409"/>
          <ac:picMkLst>
            <pc:docMk/>
            <pc:sldMk cId="3440605736" sldId="1048"/>
            <ac:picMk id="37" creationId="{928FB962-FE79-464B-B6DF-6842E614BE55}"/>
          </ac:picMkLst>
        </pc:picChg>
        <pc:picChg chg="add del">
          <ac:chgData name="Khandelwal, Rahul" userId="a3e3dcc2-f091-47be-b937-7067e8d8998e" providerId="ADAL" clId="{AC50A7E9-CB84-4BF0-AD9D-B7BA5EC23CA2}" dt="2021-05-22T14:13:12.683" v="1409"/>
          <ac:picMkLst>
            <pc:docMk/>
            <pc:sldMk cId="3440605736" sldId="1048"/>
            <ac:picMk id="38" creationId="{F05129D1-BB28-474B-AB13-F01F10046CC8}"/>
          </ac:picMkLst>
        </pc:picChg>
        <pc:picChg chg="add del">
          <ac:chgData name="Khandelwal, Rahul" userId="a3e3dcc2-f091-47be-b937-7067e8d8998e" providerId="ADAL" clId="{AC50A7E9-CB84-4BF0-AD9D-B7BA5EC23CA2}" dt="2021-05-22T14:13:12.683" v="1409"/>
          <ac:picMkLst>
            <pc:docMk/>
            <pc:sldMk cId="3440605736" sldId="1048"/>
            <ac:picMk id="40" creationId="{706137EA-4B27-47D4-87D8-D11C7CF2BFA7}"/>
          </ac:picMkLst>
        </pc:picChg>
        <pc:picChg chg="add del">
          <ac:chgData name="Khandelwal, Rahul" userId="a3e3dcc2-f091-47be-b937-7067e8d8998e" providerId="ADAL" clId="{AC50A7E9-CB84-4BF0-AD9D-B7BA5EC23CA2}" dt="2021-05-22T14:13:12.683" v="1409"/>
          <ac:picMkLst>
            <pc:docMk/>
            <pc:sldMk cId="3440605736" sldId="1048"/>
            <ac:picMk id="41" creationId="{70A4F0C0-1185-4DCB-AB25-44479B547B83}"/>
          </ac:picMkLst>
        </pc:picChg>
        <pc:picChg chg="add del">
          <ac:chgData name="Khandelwal, Rahul" userId="a3e3dcc2-f091-47be-b937-7067e8d8998e" providerId="ADAL" clId="{AC50A7E9-CB84-4BF0-AD9D-B7BA5EC23CA2}" dt="2021-05-22T14:13:12.683" v="1409"/>
          <ac:picMkLst>
            <pc:docMk/>
            <pc:sldMk cId="3440605736" sldId="1048"/>
            <ac:picMk id="42" creationId="{F418327A-8AAD-4FCC-B7D0-FCAB0DE31994}"/>
          </ac:picMkLst>
        </pc:picChg>
        <pc:picChg chg="add del">
          <ac:chgData name="Khandelwal, Rahul" userId="a3e3dcc2-f091-47be-b937-7067e8d8998e" providerId="ADAL" clId="{AC50A7E9-CB84-4BF0-AD9D-B7BA5EC23CA2}" dt="2021-05-22T14:13:12.683" v="1409"/>
          <ac:picMkLst>
            <pc:docMk/>
            <pc:sldMk cId="3440605736" sldId="1048"/>
            <ac:picMk id="43" creationId="{9EC83614-2910-448D-9D4F-D9FF1ADAF718}"/>
          </ac:picMkLst>
        </pc:picChg>
        <pc:picChg chg="add del">
          <ac:chgData name="Khandelwal, Rahul" userId="a3e3dcc2-f091-47be-b937-7067e8d8998e" providerId="ADAL" clId="{AC50A7E9-CB84-4BF0-AD9D-B7BA5EC23CA2}" dt="2021-05-22T14:13:12.683" v="1409"/>
          <ac:picMkLst>
            <pc:docMk/>
            <pc:sldMk cId="3440605736" sldId="1048"/>
            <ac:picMk id="44" creationId="{5A9D9ABA-5A30-4A28-90EC-F611E2720F9B}"/>
          </ac:picMkLst>
        </pc:picChg>
        <pc:picChg chg="add del">
          <ac:chgData name="Khandelwal, Rahul" userId="a3e3dcc2-f091-47be-b937-7067e8d8998e" providerId="ADAL" clId="{AC50A7E9-CB84-4BF0-AD9D-B7BA5EC23CA2}" dt="2021-05-22T14:13:12.683" v="1409"/>
          <ac:picMkLst>
            <pc:docMk/>
            <pc:sldMk cId="3440605736" sldId="1048"/>
            <ac:picMk id="45" creationId="{CD6B8D9E-899D-4235-8285-40A548BB55E4}"/>
          </ac:picMkLst>
        </pc:picChg>
        <pc:picChg chg="add del">
          <ac:chgData name="Khandelwal, Rahul" userId="a3e3dcc2-f091-47be-b937-7067e8d8998e" providerId="ADAL" clId="{AC50A7E9-CB84-4BF0-AD9D-B7BA5EC23CA2}" dt="2021-05-22T14:13:12.683" v="1409"/>
          <ac:picMkLst>
            <pc:docMk/>
            <pc:sldMk cId="3440605736" sldId="1048"/>
            <ac:picMk id="46" creationId="{38166E30-C36D-4793-B14C-405B600E20F6}"/>
          </ac:picMkLst>
        </pc:picChg>
        <pc:picChg chg="add del">
          <ac:chgData name="Khandelwal, Rahul" userId="a3e3dcc2-f091-47be-b937-7067e8d8998e" providerId="ADAL" clId="{AC50A7E9-CB84-4BF0-AD9D-B7BA5EC23CA2}" dt="2021-05-22T14:13:12.683" v="1409"/>
          <ac:picMkLst>
            <pc:docMk/>
            <pc:sldMk cId="3440605736" sldId="1048"/>
            <ac:picMk id="47" creationId="{28A22E7E-0F59-4F94-BADD-689AFAAE4344}"/>
          </ac:picMkLst>
        </pc:picChg>
        <pc:picChg chg="add del">
          <ac:chgData name="Khandelwal, Rahul" userId="a3e3dcc2-f091-47be-b937-7067e8d8998e" providerId="ADAL" clId="{AC50A7E9-CB84-4BF0-AD9D-B7BA5EC23CA2}" dt="2021-05-22T14:13:12.683" v="1409"/>
          <ac:picMkLst>
            <pc:docMk/>
            <pc:sldMk cId="3440605736" sldId="1048"/>
            <ac:picMk id="107" creationId="{1900F1D5-0E82-496B-98D1-48F380897396}"/>
          </ac:picMkLst>
        </pc:picChg>
        <pc:cxnChg chg="add del">
          <ac:chgData name="Khandelwal, Rahul" userId="a3e3dcc2-f091-47be-b937-7067e8d8998e" providerId="ADAL" clId="{AC50A7E9-CB84-4BF0-AD9D-B7BA5EC23CA2}" dt="2021-05-22T14:13:12.683" v="1409"/>
          <ac:cxnSpMkLst>
            <pc:docMk/>
            <pc:sldMk cId="3440605736" sldId="1048"/>
            <ac:cxnSpMk id="100" creationId="{B8EEB9EB-302A-4606-BECB-8F53C5E1C097}"/>
          </ac:cxnSpMkLst>
        </pc:cxnChg>
        <pc:cxnChg chg="add del">
          <ac:chgData name="Khandelwal, Rahul" userId="a3e3dcc2-f091-47be-b937-7067e8d8998e" providerId="ADAL" clId="{AC50A7E9-CB84-4BF0-AD9D-B7BA5EC23CA2}" dt="2021-05-22T14:13:12.683" v="1409"/>
          <ac:cxnSpMkLst>
            <pc:docMk/>
            <pc:sldMk cId="3440605736" sldId="1048"/>
            <ac:cxnSpMk id="101" creationId="{CFCBB008-FD50-4063-BD5B-D5F88CB52697}"/>
          </ac:cxnSpMkLst>
        </pc:cxnChg>
        <pc:cxnChg chg="add del">
          <ac:chgData name="Khandelwal, Rahul" userId="a3e3dcc2-f091-47be-b937-7067e8d8998e" providerId="ADAL" clId="{AC50A7E9-CB84-4BF0-AD9D-B7BA5EC23CA2}" dt="2021-05-22T14:13:12.683" v="1409"/>
          <ac:cxnSpMkLst>
            <pc:docMk/>
            <pc:sldMk cId="3440605736" sldId="1048"/>
            <ac:cxnSpMk id="102" creationId="{8829D591-F8CF-4D27-A9A3-FB1DDA6099CA}"/>
          </ac:cxnSpMkLst>
        </pc:cxnChg>
        <pc:cxnChg chg="add del">
          <ac:chgData name="Khandelwal, Rahul" userId="a3e3dcc2-f091-47be-b937-7067e8d8998e" providerId="ADAL" clId="{AC50A7E9-CB84-4BF0-AD9D-B7BA5EC23CA2}" dt="2021-05-22T14:13:12.683" v="1409"/>
          <ac:cxnSpMkLst>
            <pc:docMk/>
            <pc:sldMk cId="3440605736" sldId="1048"/>
            <ac:cxnSpMk id="103" creationId="{2F5A7BC9-87FD-4542-8928-F100DBCA282A}"/>
          </ac:cxnSpMkLst>
        </pc:cxnChg>
        <pc:cxnChg chg="add del">
          <ac:chgData name="Khandelwal, Rahul" userId="a3e3dcc2-f091-47be-b937-7067e8d8998e" providerId="ADAL" clId="{AC50A7E9-CB84-4BF0-AD9D-B7BA5EC23CA2}" dt="2021-05-22T14:13:12.683" v="1409"/>
          <ac:cxnSpMkLst>
            <pc:docMk/>
            <pc:sldMk cId="3440605736" sldId="1048"/>
            <ac:cxnSpMk id="104" creationId="{AEFEFE1D-15A5-45AF-BA98-77CEB0CBD878}"/>
          </ac:cxnSpMkLst>
        </pc:cxnChg>
        <pc:cxnChg chg="add del">
          <ac:chgData name="Khandelwal, Rahul" userId="a3e3dcc2-f091-47be-b937-7067e8d8998e" providerId="ADAL" clId="{AC50A7E9-CB84-4BF0-AD9D-B7BA5EC23CA2}" dt="2021-05-22T14:13:12.683" v="1409"/>
          <ac:cxnSpMkLst>
            <pc:docMk/>
            <pc:sldMk cId="3440605736" sldId="1048"/>
            <ac:cxnSpMk id="105" creationId="{B9833671-85AC-4915-B2A9-CC0EE499A2E0}"/>
          </ac:cxnSpMkLst>
        </pc:cxnChg>
        <pc:cxnChg chg="add del">
          <ac:chgData name="Khandelwal, Rahul" userId="a3e3dcc2-f091-47be-b937-7067e8d8998e" providerId="ADAL" clId="{AC50A7E9-CB84-4BF0-AD9D-B7BA5EC23CA2}" dt="2021-05-22T14:13:12.683" v="1409"/>
          <ac:cxnSpMkLst>
            <pc:docMk/>
            <pc:sldMk cId="3440605736" sldId="1048"/>
            <ac:cxnSpMk id="106" creationId="{12C2E9BC-CCA1-4BE9-9025-2A643929A9CC}"/>
          </ac:cxnSpMkLst>
        </pc:cxnChg>
      </pc:sldChg>
      <pc:sldChg chg="addSp delSp modSp add">
        <pc:chgData name="Khandelwal, Rahul" userId="a3e3dcc2-f091-47be-b937-7067e8d8998e" providerId="ADAL" clId="{AC50A7E9-CB84-4BF0-AD9D-B7BA5EC23CA2}" dt="2021-05-24T06:03:42.373" v="2300" actId="1038"/>
        <pc:sldMkLst>
          <pc:docMk/>
          <pc:sldMk cId="203152348" sldId="1049"/>
        </pc:sldMkLst>
        <pc:spChg chg="add mod">
          <ac:chgData name="Khandelwal, Rahul" userId="a3e3dcc2-f091-47be-b937-7067e8d8998e" providerId="ADAL" clId="{AC50A7E9-CB84-4BF0-AD9D-B7BA5EC23CA2}" dt="2021-05-22T11:09:24.847" v="1364" actId="1076"/>
          <ac:spMkLst>
            <pc:docMk/>
            <pc:sldMk cId="203152348" sldId="1049"/>
            <ac:spMk id="5" creationId="{4E726CED-1BAF-414A-893B-4626E9B6F2B4}"/>
          </ac:spMkLst>
        </pc:spChg>
        <pc:spChg chg="add mod">
          <ac:chgData name="Khandelwal, Rahul" userId="a3e3dcc2-f091-47be-b937-7067e8d8998e" providerId="ADAL" clId="{AC50A7E9-CB84-4BF0-AD9D-B7BA5EC23CA2}" dt="2021-05-22T11:09:20.251" v="1363" actId="1076"/>
          <ac:spMkLst>
            <pc:docMk/>
            <pc:sldMk cId="203152348" sldId="1049"/>
            <ac:spMk id="6" creationId="{1616387D-79C4-4D2C-8F4C-617036B1459A}"/>
          </ac:spMkLst>
        </pc:spChg>
        <pc:spChg chg="mod">
          <ac:chgData name="Khandelwal, Rahul" userId="a3e3dcc2-f091-47be-b937-7067e8d8998e" providerId="ADAL" clId="{AC50A7E9-CB84-4BF0-AD9D-B7BA5EC23CA2}" dt="2021-05-24T06:03:42.373" v="2300" actId="1038"/>
          <ac:spMkLst>
            <pc:docMk/>
            <pc:sldMk cId="203152348" sldId="1049"/>
            <ac:spMk id="7175" creationId="{BADEA8C0-D1A3-4608-9E63-683339DCC944}"/>
          </ac:spMkLst>
        </pc:spChg>
        <pc:spChg chg="del mod">
          <ac:chgData name="Khandelwal, Rahul" userId="a3e3dcc2-f091-47be-b937-7067e8d8998e" providerId="ADAL" clId="{AC50A7E9-CB84-4BF0-AD9D-B7BA5EC23CA2}" dt="2021-05-22T10:58:55.493" v="1243" actId="478"/>
          <ac:spMkLst>
            <pc:docMk/>
            <pc:sldMk cId="203152348" sldId="1049"/>
            <ac:spMk id="7176" creationId="{943087BE-AA11-4C96-BA02-329B45C19DDE}"/>
          </ac:spMkLst>
        </pc:spChg>
        <pc:spChg chg="mod">
          <ac:chgData name="Khandelwal, Rahul" userId="a3e3dcc2-f091-47be-b937-7067e8d8998e" providerId="ADAL" clId="{AC50A7E9-CB84-4BF0-AD9D-B7BA5EC23CA2}" dt="2021-05-24T05:32:37.183" v="2286" actId="1076"/>
          <ac:spMkLst>
            <pc:docMk/>
            <pc:sldMk cId="203152348" sldId="1049"/>
            <ac:spMk id="7180" creationId="{273FF0AF-5E94-435C-8A2A-7A7CA0FE36A6}"/>
          </ac:spMkLst>
        </pc:spChg>
        <pc:graphicFrameChg chg="add mod modGraphic">
          <ac:chgData name="Khandelwal, Rahul" userId="a3e3dcc2-f091-47be-b937-7067e8d8998e" providerId="ADAL" clId="{AC50A7E9-CB84-4BF0-AD9D-B7BA5EC23CA2}" dt="2021-05-22T14:07:04.885" v="1392" actId="1038"/>
          <ac:graphicFrameMkLst>
            <pc:docMk/>
            <pc:sldMk cId="203152348" sldId="1049"/>
            <ac:graphicFrameMk id="2" creationId="{B8B0DC3D-A319-4B78-A461-3FAC5C106C85}"/>
          </ac:graphicFrameMkLst>
        </pc:graphicFrameChg>
        <pc:picChg chg="mod">
          <ac:chgData name="Khandelwal, Rahul" userId="a3e3dcc2-f091-47be-b937-7067e8d8998e" providerId="ADAL" clId="{AC50A7E9-CB84-4BF0-AD9D-B7BA5EC23CA2}" dt="2021-05-24T05:50:44.594" v="2289" actId="14100"/>
          <ac:picMkLst>
            <pc:docMk/>
            <pc:sldMk cId="203152348" sldId="1049"/>
            <ac:picMk id="3" creationId="{88A863AC-00F4-4515-A946-F381545BD0F9}"/>
          </ac:picMkLst>
        </pc:picChg>
        <pc:picChg chg="mod">
          <ac:chgData name="Khandelwal, Rahul" userId="a3e3dcc2-f091-47be-b937-7067e8d8998e" providerId="ADAL" clId="{AC50A7E9-CB84-4BF0-AD9D-B7BA5EC23CA2}" dt="2021-05-24T05:32:37.183" v="2286" actId="1076"/>
          <ac:picMkLst>
            <pc:docMk/>
            <pc:sldMk cId="203152348" sldId="1049"/>
            <ac:picMk id="7179" creationId="{12618B16-99B6-4F89-A145-C5939A93831F}"/>
          </ac:picMkLst>
        </pc:picChg>
        <pc:picChg chg="mod">
          <ac:chgData name="Khandelwal, Rahul" userId="a3e3dcc2-f091-47be-b937-7067e8d8998e" providerId="ADAL" clId="{AC50A7E9-CB84-4BF0-AD9D-B7BA5EC23CA2}" dt="2021-05-24T05:32:37.183" v="2286" actId="1076"/>
          <ac:picMkLst>
            <pc:docMk/>
            <pc:sldMk cId="203152348" sldId="1049"/>
            <ac:picMk id="7181" creationId="{568E79A1-196A-4599-9F1F-AD39B99F1222}"/>
          </ac:picMkLst>
        </pc:picChg>
        <pc:picChg chg="mod">
          <ac:chgData name="Khandelwal, Rahul" userId="a3e3dcc2-f091-47be-b937-7067e8d8998e" providerId="ADAL" clId="{AC50A7E9-CB84-4BF0-AD9D-B7BA5EC23CA2}" dt="2021-05-22T10:25:05.124" v="712" actId="1076"/>
          <ac:picMkLst>
            <pc:docMk/>
            <pc:sldMk cId="203152348" sldId="1049"/>
            <ac:picMk id="7182" creationId="{89622B52-B834-40D0-9BA5-24EF14F2A61E}"/>
          </ac:picMkLst>
        </pc:picChg>
      </pc:sldChg>
      <pc:sldChg chg="addSp delSp modSp add">
        <pc:chgData name="Khandelwal, Rahul" userId="a3e3dcc2-f091-47be-b937-7067e8d8998e" providerId="ADAL" clId="{AC50A7E9-CB84-4BF0-AD9D-B7BA5EC23CA2}" dt="2021-05-22T14:14:21.706" v="1475" actId="20577"/>
        <pc:sldMkLst>
          <pc:docMk/>
          <pc:sldMk cId="3588828647" sldId="1050"/>
        </pc:sldMkLst>
        <pc:spChg chg="mod">
          <ac:chgData name="Khandelwal, Rahul" userId="a3e3dcc2-f091-47be-b937-7067e8d8998e" providerId="ADAL" clId="{AC50A7E9-CB84-4BF0-AD9D-B7BA5EC23CA2}" dt="2021-05-22T14:14:21.706" v="1475" actId="20577"/>
          <ac:spMkLst>
            <pc:docMk/>
            <pc:sldMk cId="3588828647" sldId="1050"/>
            <ac:spMk id="2" creationId="{1D37F1FA-3AB3-435C-9E41-8BEB587CEA61}"/>
          </ac:spMkLst>
        </pc:spChg>
        <pc:spChg chg="add">
          <ac:chgData name="Khandelwal, Rahul" userId="a3e3dcc2-f091-47be-b937-7067e8d8998e" providerId="ADAL" clId="{AC50A7E9-CB84-4BF0-AD9D-B7BA5EC23CA2}" dt="2021-05-22T14:13:14.887" v="1411"/>
          <ac:spMkLst>
            <pc:docMk/>
            <pc:sldMk cId="3588828647" sldId="1050"/>
            <ac:spMk id="3" creationId="{584D2866-EA4C-4F80-8863-9D90A40D1D11}"/>
          </ac:spMkLst>
        </pc:spChg>
        <pc:spChg chg="add del">
          <ac:chgData name="Khandelwal, Rahul" userId="a3e3dcc2-f091-47be-b937-7067e8d8998e" providerId="ADAL" clId="{AC50A7E9-CB84-4BF0-AD9D-B7BA5EC23CA2}" dt="2021-05-22T14:13:19.619" v="1412" actId="478"/>
          <ac:spMkLst>
            <pc:docMk/>
            <pc:sldMk cId="3588828647" sldId="1050"/>
            <ac:spMk id="4" creationId="{66E5282B-00A7-4B66-B1F8-59BB72DB5938}"/>
          </ac:spMkLst>
        </pc:spChg>
        <pc:spChg chg="add">
          <ac:chgData name="Khandelwal, Rahul" userId="a3e3dcc2-f091-47be-b937-7067e8d8998e" providerId="ADAL" clId="{AC50A7E9-CB84-4BF0-AD9D-B7BA5EC23CA2}" dt="2021-05-22T14:13:14.887" v="1411"/>
          <ac:spMkLst>
            <pc:docMk/>
            <pc:sldMk cId="3588828647" sldId="1050"/>
            <ac:spMk id="5" creationId="{C0DDF913-2922-4202-9114-0C0BAA2CAD87}"/>
          </ac:spMkLst>
        </pc:spChg>
        <pc:spChg chg="add">
          <ac:chgData name="Khandelwal, Rahul" userId="a3e3dcc2-f091-47be-b937-7067e8d8998e" providerId="ADAL" clId="{AC50A7E9-CB84-4BF0-AD9D-B7BA5EC23CA2}" dt="2021-05-22T14:13:14.887" v="1411"/>
          <ac:spMkLst>
            <pc:docMk/>
            <pc:sldMk cId="3588828647" sldId="1050"/>
            <ac:spMk id="6" creationId="{58C67F7E-A8D3-49AF-AC3D-88FD3DC5409B}"/>
          </ac:spMkLst>
        </pc:spChg>
        <pc:spChg chg="add">
          <ac:chgData name="Khandelwal, Rahul" userId="a3e3dcc2-f091-47be-b937-7067e8d8998e" providerId="ADAL" clId="{AC50A7E9-CB84-4BF0-AD9D-B7BA5EC23CA2}" dt="2021-05-22T14:13:14.887" v="1411"/>
          <ac:spMkLst>
            <pc:docMk/>
            <pc:sldMk cId="3588828647" sldId="1050"/>
            <ac:spMk id="7" creationId="{13F5487B-7219-4917-BC2E-B85422CAC21A}"/>
          </ac:spMkLst>
        </pc:spChg>
        <pc:spChg chg="add">
          <ac:chgData name="Khandelwal, Rahul" userId="a3e3dcc2-f091-47be-b937-7067e8d8998e" providerId="ADAL" clId="{AC50A7E9-CB84-4BF0-AD9D-B7BA5EC23CA2}" dt="2021-05-22T14:13:14.887" v="1411"/>
          <ac:spMkLst>
            <pc:docMk/>
            <pc:sldMk cId="3588828647" sldId="1050"/>
            <ac:spMk id="36" creationId="{0CE194EB-10B7-46B1-B0C8-3D9BBF44EFE1}"/>
          </ac:spMkLst>
        </pc:spChg>
        <pc:spChg chg="add">
          <ac:chgData name="Khandelwal, Rahul" userId="a3e3dcc2-f091-47be-b937-7067e8d8998e" providerId="ADAL" clId="{AC50A7E9-CB84-4BF0-AD9D-B7BA5EC23CA2}" dt="2021-05-22T14:13:14.887" v="1411"/>
          <ac:spMkLst>
            <pc:docMk/>
            <pc:sldMk cId="3588828647" sldId="1050"/>
            <ac:spMk id="45" creationId="{23C41FEB-E27D-4CC7-998E-128AFEB0A705}"/>
          </ac:spMkLst>
        </pc:spChg>
        <pc:spChg chg="add">
          <ac:chgData name="Khandelwal, Rahul" userId="a3e3dcc2-f091-47be-b937-7067e8d8998e" providerId="ADAL" clId="{AC50A7E9-CB84-4BF0-AD9D-B7BA5EC23CA2}" dt="2021-05-22T14:13:14.887" v="1411"/>
          <ac:spMkLst>
            <pc:docMk/>
            <pc:sldMk cId="3588828647" sldId="1050"/>
            <ac:spMk id="46" creationId="{09302894-05C8-4694-A4E4-57FE0D74A999}"/>
          </ac:spMkLst>
        </pc:spChg>
        <pc:spChg chg="add">
          <ac:chgData name="Khandelwal, Rahul" userId="a3e3dcc2-f091-47be-b937-7067e8d8998e" providerId="ADAL" clId="{AC50A7E9-CB84-4BF0-AD9D-B7BA5EC23CA2}" dt="2021-05-22T14:13:14.887" v="1411"/>
          <ac:spMkLst>
            <pc:docMk/>
            <pc:sldMk cId="3588828647" sldId="1050"/>
            <ac:spMk id="47" creationId="{986D999D-831A-4FE6-B161-72F3B77A10DC}"/>
          </ac:spMkLst>
        </pc:spChg>
        <pc:spChg chg="add">
          <ac:chgData name="Khandelwal, Rahul" userId="a3e3dcc2-f091-47be-b937-7067e8d8998e" providerId="ADAL" clId="{AC50A7E9-CB84-4BF0-AD9D-B7BA5EC23CA2}" dt="2021-05-22T14:13:14.887" v="1411"/>
          <ac:spMkLst>
            <pc:docMk/>
            <pc:sldMk cId="3588828647" sldId="1050"/>
            <ac:spMk id="48" creationId="{CEBD76E0-B486-440A-B60D-DA3DA9869358}"/>
          </ac:spMkLst>
        </pc:spChg>
        <pc:spChg chg="add">
          <ac:chgData name="Khandelwal, Rahul" userId="a3e3dcc2-f091-47be-b937-7067e8d8998e" providerId="ADAL" clId="{AC50A7E9-CB84-4BF0-AD9D-B7BA5EC23CA2}" dt="2021-05-22T14:13:14.887" v="1411"/>
          <ac:spMkLst>
            <pc:docMk/>
            <pc:sldMk cId="3588828647" sldId="1050"/>
            <ac:spMk id="49" creationId="{BDF5B142-5C95-450F-85B5-0386449781F3}"/>
          </ac:spMkLst>
        </pc:spChg>
        <pc:spChg chg="add">
          <ac:chgData name="Khandelwal, Rahul" userId="a3e3dcc2-f091-47be-b937-7067e8d8998e" providerId="ADAL" clId="{AC50A7E9-CB84-4BF0-AD9D-B7BA5EC23CA2}" dt="2021-05-22T14:13:14.887" v="1411"/>
          <ac:spMkLst>
            <pc:docMk/>
            <pc:sldMk cId="3588828647" sldId="1050"/>
            <ac:spMk id="50" creationId="{2CC5E7DF-5EA4-4EAA-A1D8-616D6BA2E8BE}"/>
          </ac:spMkLst>
        </pc:spChg>
        <pc:spChg chg="add">
          <ac:chgData name="Khandelwal, Rahul" userId="a3e3dcc2-f091-47be-b937-7067e8d8998e" providerId="ADAL" clId="{AC50A7E9-CB84-4BF0-AD9D-B7BA5EC23CA2}" dt="2021-05-22T14:13:14.887" v="1411"/>
          <ac:spMkLst>
            <pc:docMk/>
            <pc:sldMk cId="3588828647" sldId="1050"/>
            <ac:spMk id="51" creationId="{9A5706C3-2993-438F-BABD-ADAE0A54FFC4}"/>
          </ac:spMkLst>
        </pc:spChg>
        <pc:spChg chg="add">
          <ac:chgData name="Khandelwal, Rahul" userId="a3e3dcc2-f091-47be-b937-7067e8d8998e" providerId="ADAL" clId="{AC50A7E9-CB84-4BF0-AD9D-B7BA5EC23CA2}" dt="2021-05-22T14:13:14.887" v="1411"/>
          <ac:spMkLst>
            <pc:docMk/>
            <pc:sldMk cId="3588828647" sldId="1050"/>
            <ac:spMk id="52" creationId="{9BF5B801-77DB-4B88-AEF7-C3787E25F26F}"/>
          </ac:spMkLst>
        </pc:spChg>
        <pc:spChg chg="add">
          <ac:chgData name="Khandelwal, Rahul" userId="a3e3dcc2-f091-47be-b937-7067e8d8998e" providerId="ADAL" clId="{AC50A7E9-CB84-4BF0-AD9D-B7BA5EC23CA2}" dt="2021-05-22T14:13:14.887" v="1411"/>
          <ac:spMkLst>
            <pc:docMk/>
            <pc:sldMk cId="3588828647" sldId="1050"/>
            <ac:spMk id="53" creationId="{001E19AF-BF81-46BF-97F3-8F1A2BA6F972}"/>
          </ac:spMkLst>
        </pc:spChg>
        <pc:spChg chg="add">
          <ac:chgData name="Khandelwal, Rahul" userId="a3e3dcc2-f091-47be-b937-7067e8d8998e" providerId="ADAL" clId="{AC50A7E9-CB84-4BF0-AD9D-B7BA5EC23CA2}" dt="2021-05-22T14:13:14.887" v="1411"/>
          <ac:spMkLst>
            <pc:docMk/>
            <pc:sldMk cId="3588828647" sldId="1050"/>
            <ac:spMk id="96" creationId="{3B9E6B8F-28A8-4790-8BD1-21BA7D0072E8}"/>
          </ac:spMkLst>
        </pc:spChg>
        <pc:grpChg chg="add">
          <ac:chgData name="Khandelwal, Rahul" userId="a3e3dcc2-f091-47be-b937-7067e8d8998e" providerId="ADAL" clId="{AC50A7E9-CB84-4BF0-AD9D-B7BA5EC23CA2}" dt="2021-05-22T14:13:14.887" v="1411"/>
          <ac:grpSpMkLst>
            <pc:docMk/>
            <pc:sldMk cId="3588828647" sldId="1050"/>
            <ac:grpSpMk id="19" creationId="{20B482E4-D396-483E-BC60-C78849BA84F9}"/>
          </ac:grpSpMkLst>
        </pc:grpChg>
        <pc:grpChg chg="add">
          <ac:chgData name="Khandelwal, Rahul" userId="a3e3dcc2-f091-47be-b937-7067e8d8998e" providerId="ADAL" clId="{AC50A7E9-CB84-4BF0-AD9D-B7BA5EC23CA2}" dt="2021-05-22T14:13:14.887" v="1411"/>
          <ac:grpSpMkLst>
            <pc:docMk/>
            <pc:sldMk cId="3588828647" sldId="1050"/>
            <ac:grpSpMk id="54" creationId="{1FA01D49-E356-45C5-9E28-FFAD65850905}"/>
          </ac:grpSpMkLst>
        </pc:grpChg>
        <pc:picChg chg="add">
          <ac:chgData name="Khandelwal, Rahul" userId="a3e3dcc2-f091-47be-b937-7067e8d8998e" providerId="ADAL" clId="{AC50A7E9-CB84-4BF0-AD9D-B7BA5EC23CA2}" dt="2021-05-22T14:13:14.887" v="1411"/>
          <ac:picMkLst>
            <pc:docMk/>
            <pc:sldMk cId="3588828647" sldId="1050"/>
            <ac:picMk id="8" creationId="{3D840D3B-DC8D-4F9F-AD76-3BC0D01C00CC}"/>
          </ac:picMkLst>
        </pc:picChg>
        <pc:picChg chg="add">
          <ac:chgData name="Khandelwal, Rahul" userId="a3e3dcc2-f091-47be-b937-7067e8d8998e" providerId="ADAL" clId="{AC50A7E9-CB84-4BF0-AD9D-B7BA5EC23CA2}" dt="2021-05-22T14:13:14.887" v="1411"/>
          <ac:picMkLst>
            <pc:docMk/>
            <pc:sldMk cId="3588828647" sldId="1050"/>
            <ac:picMk id="9" creationId="{D71150FC-5F8B-4D70-9050-74AA84059DD3}"/>
          </ac:picMkLst>
        </pc:picChg>
        <pc:picChg chg="add">
          <ac:chgData name="Khandelwal, Rahul" userId="a3e3dcc2-f091-47be-b937-7067e8d8998e" providerId="ADAL" clId="{AC50A7E9-CB84-4BF0-AD9D-B7BA5EC23CA2}" dt="2021-05-22T14:13:14.887" v="1411"/>
          <ac:picMkLst>
            <pc:docMk/>
            <pc:sldMk cId="3588828647" sldId="1050"/>
            <ac:picMk id="10" creationId="{FE9653CE-3897-4E5F-B66E-C9F510690502}"/>
          </ac:picMkLst>
        </pc:picChg>
        <pc:picChg chg="add">
          <ac:chgData name="Khandelwal, Rahul" userId="a3e3dcc2-f091-47be-b937-7067e8d8998e" providerId="ADAL" clId="{AC50A7E9-CB84-4BF0-AD9D-B7BA5EC23CA2}" dt="2021-05-22T14:13:14.887" v="1411"/>
          <ac:picMkLst>
            <pc:docMk/>
            <pc:sldMk cId="3588828647" sldId="1050"/>
            <ac:picMk id="11" creationId="{0AB4816C-3EA6-4E17-8BE5-11B667C7F7BE}"/>
          </ac:picMkLst>
        </pc:picChg>
        <pc:picChg chg="add">
          <ac:chgData name="Khandelwal, Rahul" userId="a3e3dcc2-f091-47be-b937-7067e8d8998e" providerId="ADAL" clId="{AC50A7E9-CB84-4BF0-AD9D-B7BA5EC23CA2}" dt="2021-05-22T14:13:14.887" v="1411"/>
          <ac:picMkLst>
            <pc:docMk/>
            <pc:sldMk cId="3588828647" sldId="1050"/>
            <ac:picMk id="12" creationId="{DA512386-2F2A-4C51-A988-663BCC45FCE7}"/>
          </ac:picMkLst>
        </pc:picChg>
        <pc:picChg chg="add">
          <ac:chgData name="Khandelwal, Rahul" userId="a3e3dcc2-f091-47be-b937-7067e8d8998e" providerId="ADAL" clId="{AC50A7E9-CB84-4BF0-AD9D-B7BA5EC23CA2}" dt="2021-05-22T14:13:14.887" v="1411"/>
          <ac:picMkLst>
            <pc:docMk/>
            <pc:sldMk cId="3588828647" sldId="1050"/>
            <ac:picMk id="13" creationId="{196AD9F3-33C7-4E05-8B37-865D50A03A74}"/>
          </ac:picMkLst>
        </pc:picChg>
        <pc:picChg chg="add">
          <ac:chgData name="Khandelwal, Rahul" userId="a3e3dcc2-f091-47be-b937-7067e8d8998e" providerId="ADAL" clId="{AC50A7E9-CB84-4BF0-AD9D-B7BA5EC23CA2}" dt="2021-05-22T14:13:14.887" v="1411"/>
          <ac:picMkLst>
            <pc:docMk/>
            <pc:sldMk cId="3588828647" sldId="1050"/>
            <ac:picMk id="14" creationId="{6FE9B69B-8135-4A55-BE3D-2F845BFE3786}"/>
          </ac:picMkLst>
        </pc:picChg>
        <pc:picChg chg="add">
          <ac:chgData name="Khandelwal, Rahul" userId="a3e3dcc2-f091-47be-b937-7067e8d8998e" providerId="ADAL" clId="{AC50A7E9-CB84-4BF0-AD9D-B7BA5EC23CA2}" dt="2021-05-22T14:13:14.887" v="1411"/>
          <ac:picMkLst>
            <pc:docMk/>
            <pc:sldMk cId="3588828647" sldId="1050"/>
            <ac:picMk id="15" creationId="{4EDD02B7-C975-4A3E-941F-5B9F55E69826}"/>
          </ac:picMkLst>
        </pc:picChg>
        <pc:picChg chg="add">
          <ac:chgData name="Khandelwal, Rahul" userId="a3e3dcc2-f091-47be-b937-7067e8d8998e" providerId="ADAL" clId="{AC50A7E9-CB84-4BF0-AD9D-B7BA5EC23CA2}" dt="2021-05-22T14:13:14.887" v="1411"/>
          <ac:picMkLst>
            <pc:docMk/>
            <pc:sldMk cId="3588828647" sldId="1050"/>
            <ac:picMk id="16" creationId="{38643399-C0F3-456E-9260-F8E538FB76F7}"/>
          </ac:picMkLst>
        </pc:picChg>
        <pc:picChg chg="add">
          <ac:chgData name="Khandelwal, Rahul" userId="a3e3dcc2-f091-47be-b937-7067e8d8998e" providerId="ADAL" clId="{AC50A7E9-CB84-4BF0-AD9D-B7BA5EC23CA2}" dt="2021-05-22T14:13:14.887" v="1411"/>
          <ac:picMkLst>
            <pc:docMk/>
            <pc:sldMk cId="3588828647" sldId="1050"/>
            <ac:picMk id="17" creationId="{52FDE52B-5F73-4862-8F61-C9F3DD779F21}"/>
          </ac:picMkLst>
        </pc:picChg>
        <pc:picChg chg="add">
          <ac:chgData name="Khandelwal, Rahul" userId="a3e3dcc2-f091-47be-b937-7067e8d8998e" providerId="ADAL" clId="{AC50A7E9-CB84-4BF0-AD9D-B7BA5EC23CA2}" dt="2021-05-22T14:13:14.887" v="1411"/>
          <ac:picMkLst>
            <pc:docMk/>
            <pc:sldMk cId="3588828647" sldId="1050"/>
            <ac:picMk id="18" creationId="{B57207DB-CC1F-4215-A061-5102FBE9FF2E}"/>
          </ac:picMkLst>
        </pc:picChg>
        <pc:picChg chg="add">
          <ac:chgData name="Khandelwal, Rahul" userId="a3e3dcc2-f091-47be-b937-7067e8d8998e" providerId="ADAL" clId="{AC50A7E9-CB84-4BF0-AD9D-B7BA5EC23CA2}" dt="2021-05-22T14:13:14.887" v="1411"/>
          <ac:picMkLst>
            <pc:docMk/>
            <pc:sldMk cId="3588828647" sldId="1050"/>
            <ac:picMk id="34" creationId="{BA734BE0-A62A-4CEF-8D23-2D3E12A50F6A}"/>
          </ac:picMkLst>
        </pc:picChg>
        <pc:picChg chg="add">
          <ac:chgData name="Khandelwal, Rahul" userId="a3e3dcc2-f091-47be-b937-7067e8d8998e" providerId="ADAL" clId="{AC50A7E9-CB84-4BF0-AD9D-B7BA5EC23CA2}" dt="2021-05-22T14:13:14.887" v="1411"/>
          <ac:picMkLst>
            <pc:docMk/>
            <pc:sldMk cId="3588828647" sldId="1050"/>
            <ac:picMk id="35" creationId="{D0B93284-EEA6-474C-B1BF-F8C3CD4AA190}"/>
          </ac:picMkLst>
        </pc:picChg>
        <pc:picChg chg="add">
          <ac:chgData name="Khandelwal, Rahul" userId="a3e3dcc2-f091-47be-b937-7067e8d8998e" providerId="ADAL" clId="{AC50A7E9-CB84-4BF0-AD9D-B7BA5EC23CA2}" dt="2021-05-22T14:13:14.887" v="1411"/>
          <ac:picMkLst>
            <pc:docMk/>
            <pc:sldMk cId="3588828647" sldId="1050"/>
            <ac:picMk id="37" creationId="{206EC66A-5403-4917-B961-FE5458F97398}"/>
          </ac:picMkLst>
        </pc:picChg>
        <pc:picChg chg="add">
          <ac:chgData name="Khandelwal, Rahul" userId="a3e3dcc2-f091-47be-b937-7067e8d8998e" providerId="ADAL" clId="{AC50A7E9-CB84-4BF0-AD9D-B7BA5EC23CA2}" dt="2021-05-22T14:13:14.887" v="1411"/>
          <ac:picMkLst>
            <pc:docMk/>
            <pc:sldMk cId="3588828647" sldId="1050"/>
            <ac:picMk id="38" creationId="{827E5100-D542-4BA0-8CD2-11389AF46AEF}"/>
          </ac:picMkLst>
        </pc:picChg>
        <pc:picChg chg="add">
          <ac:chgData name="Khandelwal, Rahul" userId="a3e3dcc2-f091-47be-b937-7067e8d8998e" providerId="ADAL" clId="{AC50A7E9-CB84-4BF0-AD9D-B7BA5EC23CA2}" dt="2021-05-22T14:13:14.887" v="1411"/>
          <ac:picMkLst>
            <pc:docMk/>
            <pc:sldMk cId="3588828647" sldId="1050"/>
            <ac:picMk id="39" creationId="{B42DE0AA-5D81-437D-8CE3-BA87194F9A55}"/>
          </ac:picMkLst>
        </pc:picChg>
        <pc:picChg chg="add">
          <ac:chgData name="Khandelwal, Rahul" userId="a3e3dcc2-f091-47be-b937-7067e8d8998e" providerId="ADAL" clId="{AC50A7E9-CB84-4BF0-AD9D-B7BA5EC23CA2}" dt="2021-05-22T14:13:14.887" v="1411"/>
          <ac:picMkLst>
            <pc:docMk/>
            <pc:sldMk cId="3588828647" sldId="1050"/>
            <ac:picMk id="40" creationId="{781398DA-0ADF-4BA6-91A2-D04EB8E115A1}"/>
          </ac:picMkLst>
        </pc:picChg>
        <pc:picChg chg="add">
          <ac:chgData name="Khandelwal, Rahul" userId="a3e3dcc2-f091-47be-b937-7067e8d8998e" providerId="ADAL" clId="{AC50A7E9-CB84-4BF0-AD9D-B7BA5EC23CA2}" dt="2021-05-22T14:13:14.887" v="1411"/>
          <ac:picMkLst>
            <pc:docMk/>
            <pc:sldMk cId="3588828647" sldId="1050"/>
            <ac:picMk id="41" creationId="{C43C9AB9-FC56-4C21-AD3C-05B30C3B2EAF}"/>
          </ac:picMkLst>
        </pc:picChg>
        <pc:picChg chg="add">
          <ac:chgData name="Khandelwal, Rahul" userId="a3e3dcc2-f091-47be-b937-7067e8d8998e" providerId="ADAL" clId="{AC50A7E9-CB84-4BF0-AD9D-B7BA5EC23CA2}" dt="2021-05-22T14:13:14.887" v="1411"/>
          <ac:picMkLst>
            <pc:docMk/>
            <pc:sldMk cId="3588828647" sldId="1050"/>
            <ac:picMk id="42" creationId="{A6097E71-D3E3-4912-A503-CCA2609D6D30}"/>
          </ac:picMkLst>
        </pc:picChg>
        <pc:picChg chg="add">
          <ac:chgData name="Khandelwal, Rahul" userId="a3e3dcc2-f091-47be-b937-7067e8d8998e" providerId="ADAL" clId="{AC50A7E9-CB84-4BF0-AD9D-B7BA5EC23CA2}" dt="2021-05-22T14:13:14.887" v="1411"/>
          <ac:picMkLst>
            <pc:docMk/>
            <pc:sldMk cId="3588828647" sldId="1050"/>
            <ac:picMk id="43" creationId="{98F9913D-B5E8-4087-BBB4-6FECB5D137BD}"/>
          </ac:picMkLst>
        </pc:picChg>
        <pc:picChg chg="add">
          <ac:chgData name="Khandelwal, Rahul" userId="a3e3dcc2-f091-47be-b937-7067e8d8998e" providerId="ADAL" clId="{AC50A7E9-CB84-4BF0-AD9D-B7BA5EC23CA2}" dt="2021-05-22T14:13:14.887" v="1411"/>
          <ac:picMkLst>
            <pc:docMk/>
            <pc:sldMk cId="3588828647" sldId="1050"/>
            <ac:picMk id="44" creationId="{3FFD8A1F-7AF3-4F89-ABF9-25181A0CA52C}"/>
          </ac:picMkLst>
        </pc:picChg>
        <pc:picChg chg="add">
          <ac:chgData name="Khandelwal, Rahul" userId="a3e3dcc2-f091-47be-b937-7067e8d8998e" providerId="ADAL" clId="{AC50A7E9-CB84-4BF0-AD9D-B7BA5EC23CA2}" dt="2021-05-22T14:13:14.887" v="1411"/>
          <ac:picMkLst>
            <pc:docMk/>
            <pc:sldMk cId="3588828647" sldId="1050"/>
            <ac:picMk id="104" creationId="{27DA10E9-15F8-4627-A2D9-B3CE73106C19}"/>
          </ac:picMkLst>
        </pc:picChg>
        <pc:cxnChg chg="add">
          <ac:chgData name="Khandelwal, Rahul" userId="a3e3dcc2-f091-47be-b937-7067e8d8998e" providerId="ADAL" clId="{AC50A7E9-CB84-4BF0-AD9D-B7BA5EC23CA2}" dt="2021-05-22T14:13:14.887" v="1411"/>
          <ac:cxnSpMkLst>
            <pc:docMk/>
            <pc:sldMk cId="3588828647" sldId="1050"/>
            <ac:cxnSpMk id="97" creationId="{B6655A2E-B46E-47A0-8CA7-9544B324E08C}"/>
          </ac:cxnSpMkLst>
        </pc:cxnChg>
        <pc:cxnChg chg="add">
          <ac:chgData name="Khandelwal, Rahul" userId="a3e3dcc2-f091-47be-b937-7067e8d8998e" providerId="ADAL" clId="{AC50A7E9-CB84-4BF0-AD9D-B7BA5EC23CA2}" dt="2021-05-22T14:13:14.887" v="1411"/>
          <ac:cxnSpMkLst>
            <pc:docMk/>
            <pc:sldMk cId="3588828647" sldId="1050"/>
            <ac:cxnSpMk id="98" creationId="{53C46A72-A85F-4396-921F-696207280BA8}"/>
          </ac:cxnSpMkLst>
        </pc:cxnChg>
        <pc:cxnChg chg="add">
          <ac:chgData name="Khandelwal, Rahul" userId="a3e3dcc2-f091-47be-b937-7067e8d8998e" providerId="ADAL" clId="{AC50A7E9-CB84-4BF0-AD9D-B7BA5EC23CA2}" dt="2021-05-22T14:13:14.887" v="1411"/>
          <ac:cxnSpMkLst>
            <pc:docMk/>
            <pc:sldMk cId="3588828647" sldId="1050"/>
            <ac:cxnSpMk id="99" creationId="{E1C0C3ED-DECB-4B33-81DA-372E3C8D29A3}"/>
          </ac:cxnSpMkLst>
        </pc:cxnChg>
        <pc:cxnChg chg="add">
          <ac:chgData name="Khandelwal, Rahul" userId="a3e3dcc2-f091-47be-b937-7067e8d8998e" providerId="ADAL" clId="{AC50A7E9-CB84-4BF0-AD9D-B7BA5EC23CA2}" dt="2021-05-22T14:13:14.887" v="1411"/>
          <ac:cxnSpMkLst>
            <pc:docMk/>
            <pc:sldMk cId="3588828647" sldId="1050"/>
            <ac:cxnSpMk id="100" creationId="{8B7A53C0-5CC0-41F3-A37D-F6728287428A}"/>
          </ac:cxnSpMkLst>
        </pc:cxnChg>
        <pc:cxnChg chg="add mod">
          <ac:chgData name="Khandelwal, Rahul" userId="a3e3dcc2-f091-47be-b937-7067e8d8998e" providerId="ADAL" clId="{AC50A7E9-CB84-4BF0-AD9D-B7BA5EC23CA2}" dt="2021-05-22T14:13:33.345" v="1414" actId="1076"/>
          <ac:cxnSpMkLst>
            <pc:docMk/>
            <pc:sldMk cId="3588828647" sldId="1050"/>
            <ac:cxnSpMk id="101" creationId="{79987415-E4AB-452D-ABA9-8EF5F664F23E}"/>
          </ac:cxnSpMkLst>
        </pc:cxnChg>
        <pc:cxnChg chg="add">
          <ac:chgData name="Khandelwal, Rahul" userId="a3e3dcc2-f091-47be-b937-7067e8d8998e" providerId="ADAL" clId="{AC50A7E9-CB84-4BF0-AD9D-B7BA5EC23CA2}" dt="2021-05-22T14:13:14.887" v="1411"/>
          <ac:cxnSpMkLst>
            <pc:docMk/>
            <pc:sldMk cId="3588828647" sldId="1050"/>
            <ac:cxnSpMk id="102" creationId="{5FAB1DD0-E9A6-473A-9155-7010435A243F}"/>
          </ac:cxnSpMkLst>
        </pc:cxnChg>
        <pc:cxnChg chg="add">
          <ac:chgData name="Khandelwal, Rahul" userId="a3e3dcc2-f091-47be-b937-7067e8d8998e" providerId="ADAL" clId="{AC50A7E9-CB84-4BF0-AD9D-B7BA5EC23CA2}" dt="2021-05-22T14:13:14.887" v="1411"/>
          <ac:cxnSpMkLst>
            <pc:docMk/>
            <pc:sldMk cId="3588828647" sldId="1050"/>
            <ac:cxnSpMk id="103" creationId="{2F67E631-ED22-4610-AC51-65F1B3C628B2}"/>
          </ac:cxnSpMkLst>
        </pc:cxnChg>
      </pc:sldChg>
      <pc:sldChg chg="addSp delSp modSp add">
        <pc:chgData name="Khandelwal, Rahul" userId="a3e3dcc2-f091-47be-b937-7067e8d8998e" providerId="ADAL" clId="{AC50A7E9-CB84-4BF0-AD9D-B7BA5EC23CA2}" dt="2021-05-22T14:16:20.913" v="1513" actId="478"/>
        <pc:sldMkLst>
          <pc:docMk/>
          <pc:sldMk cId="3113555520" sldId="1051"/>
        </pc:sldMkLst>
        <pc:spChg chg="del">
          <ac:chgData name="Khandelwal, Rahul" userId="a3e3dcc2-f091-47be-b937-7067e8d8998e" providerId="ADAL" clId="{AC50A7E9-CB84-4BF0-AD9D-B7BA5EC23CA2}" dt="2021-05-22T14:15:48.365" v="1479"/>
          <ac:spMkLst>
            <pc:docMk/>
            <pc:sldMk cId="3113555520" sldId="1051"/>
            <ac:spMk id="2" creationId="{A35967B0-BBD0-4819-B771-F99B4A21FDE1}"/>
          </ac:spMkLst>
        </pc:spChg>
        <pc:spChg chg="del">
          <ac:chgData name="Khandelwal, Rahul" userId="a3e3dcc2-f091-47be-b937-7067e8d8998e" providerId="ADAL" clId="{AC50A7E9-CB84-4BF0-AD9D-B7BA5EC23CA2}" dt="2021-05-22T14:15:48.365" v="1479"/>
          <ac:spMkLst>
            <pc:docMk/>
            <pc:sldMk cId="3113555520" sldId="1051"/>
            <ac:spMk id="3" creationId="{82DB3B0E-CCF5-4DD5-A788-6A2F1E800E60}"/>
          </ac:spMkLst>
        </pc:spChg>
        <pc:spChg chg="del">
          <ac:chgData name="Khandelwal, Rahul" userId="a3e3dcc2-f091-47be-b937-7067e8d8998e" providerId="ADAL" clId="{AC50A7E9-CB84-4BF0-AD9D-B7BA5EC23CA2}" dt="2021-05-22T14:15:48.365" v="1479"/>
          <ac:spMkLst>
            <pc:docMk/>
            <pc:sldMk cId="3113555520" sldId="1051"/>
            <ac:spMk id="4" creationId="{5965B912-4140-44FC-B061-D3784CFF317D}"/>
          </ac:spMkLst>
        </pc:spChg>
        <pc:spChg chg="del">
          <ac:chgData name="Khandelwal, Rahul" userId="a3e3dcc2-f091-47be-b937-7067e8d8998e" providerId="ADAL" clId="{AC50A7E9-CB84-4BF0-AD9D-B7BA5EC23CA2}" dt="2021-05-22T14:15:48.365" v="1479"/>
          <ac:spMkLst>
            <pc:docMk/>
            <pc:sldMk cId="3113555520" sldId="1051"/>
            <ac:spMk id="5" creationId="{0AF8056C-169A-49F2-BE03-EBFF25629BCC}"/>
          </ac:spMkLst>
        </pc:spChg>
        <pc:spChg chg="del">
          <ac:chgData name="Khandelwal, Rahul" userId="a3e3dcc2-f091-47be-b937-7067e8d8998e" providerId="ADAL" clId="{AC50A7E9-CB84-4BF0-AD9D-B7BA5EC23CA2}" dt="2021-05-22T14:15:48.365" v="1479"/>
          <ac:spMkLst>
            <pc:docMk/>
            <pc:sldMk cId="3113555520" sldId="1051"/>
            <ac:spMk id="6" creationId="{62BCA2D4-8046-4E5E-AD16-EBFFB1E6492E}"/>
          </ac:spMkLst>
        </pc:spChg>
        <pc:spChg chg="del">
          <ac:chgData name="Khandelwal, Rahul" userId="a3e3dcc2-f091-47be-b937-7067e8d8998e" providerId="ADAL" clId="{AC50A7E9-CB84-4BF0-AD9D-B7BA5EC23CA2}" dt="2021-05-22T14:15:48.365" v="1479"/>
          <ac:spMkLst>
            <pc:docMk/>
            <pc:sldMk cId="3113555520" sldId="1051"/>
            <ac:spMk id="7" creationId="{316F5FA0-0247-428F-AE44-10FB1891D22D}"/>
          </ac:spMkLst>
        </pc:spChg>
        <pc:spChg chg="del">
          <ac:chgData name="Khandelwal, Rahul" userId="a3e3dcc2-f091-47be-b937-7067e8d8998e" providerId="ADAL" clId="{AC50A7E9-CB84-4BF0-AD9D-B7BA5EC23CA2}" dt="2021-05-22T14:15:48.365" v="1479"/>
          <ac:spMkLst>
            <pc:docMk/>
            <pc:sldMk cId="3113555520" sldId="1051"/>
            <ac:spMk id="8" creationId="{D9FF6DAA-9DFA-4524-A563-697DF375DAF3}"/>
          </ac:spMkLst>
        </pc:spChg>
        <pc:spChg chg="del">
          <ac:chgData name="Khandelwal, Rahul" userId="a3e3dcc2-f091-47be-b937-7067e8d8998e" providerId="ADAL" clId="{AC50A7E9-CB84-4BF0-AD9D-B7BA5EC23CA2}" dt="2021-05-22T14:15:48.365" v="1479"/>
          <ac:spMkLst>
            <pc:docMk/>
            <pc:sldMk cId="3113555520" sldId="1051"/>
            <ac:spMk id="9" creationId="{18FA07C6-357D-4DC6-AE0F-5D16FFB1A001}"/>
          </ac:spMkLst>
        </pc:spChg>
        <pc:spChg chg="del">
          <ac:chgData name="Khandelwal, Rahul" userId="a3e3dcc2-f091-47be-b937-7067e8d8998e" providerId="ADAL" clId="{AC50A7E9-CB84-4BF0-AD9D-B7BA5EC23CA2}" dt="2021-05-22T14:15:48.365" v="1479"/>
          <ac:spMkLst>
            <pc:docMk/>
            <pc:sldMk cId="3113555520" sldId="1051"/>
            <ac:spMk id="10" creationId="{E32CBA80-FB6F-4272-A4F3-6600FC699191}"/>
          </ac:spMkLst>
        </pc:spChg>
        <pc:spChg chg="add del mod">
          <ac:chgData name="Khandelwal, Rahul" userId="a3e3dcc2-f091-47be-b937-7067e8d8998e" providerId="ADAL" clId="{AC50A7E9-CB84-4BF0-AD9D-B7BA5EC23CA2}" dt="2021-05-22T14:15:55.140" v="1480"/>
          <ac:spMkLst>
            <pc:docMk/>
            <pc:sldMk cId="3113555520" sldId="1051"/>
            <ac:spMk id="11" creationId="{C8FA744E-761C-42F3-89DF-6293E42EBA8E}"/>
          </ac:spMkLst>
        </pc:spChg>
        <pc:spChg chg="add del mod">
          <ac:chgData name="Khandelwal, Rahul" userId="a3e3dcc2-f091-47be-b937-7067e8d8998e" providerId="ADAL" clId="{AC50A7E9-CB84-4BF0-AD9D-B7BA5EC23CA2}" dt="2021-05-22T14:15:55.140" v="1480"/>
          <ac:spMkLst>
            <pc:docMk/>
            <pc:sldMk cId="3113555520" sldId="1051"/>
            <ac:spMk id="12" creationId="{B6922B9C-B3F7-4C35-B239-0B9981B09AE5}"/>
          </ac:spMkLst>
        </pc:spChg>
        <pc:spChg chg="add mod">
          <ac:chgData name="Khandelwal, Rahul" userId="a3e3dcc2-f091-47be-b937-7067e8d8998e" providerId="ADAL" clId="{AC50A7E9-CB84-4BF0-AD9D-B7BA5EC23CA2}" dt="2021-05-22T14:15:55.140" v="1480"/>
          <ac:spMkLst>
            <pc:docMk/>
            <pc:sldMk cId="3113555520" sldId="1051"/>
            <ac:spMk id="13" creationId="{80A9A069-2BA1-4E53-9B49-A04D67FA0C3F}"/>
          </ac:spMkLst>
        </pc:spChg>
        <pc:spChg chg="add mod">
          <ac:chgData name="Khandelwal, Rahul" userId="a3e3dcc2-f091-47be-b937-7067e8d8998e" providerId="ADAL" clId="{AC50A7E9-CB84-4BF0-AD9D-B7BA5EC23CA2}" dt="2021-05-22T14:16:08.740" v="1497" actId="20577"/>
          <ac:spMkLst>
            <pc:docMk/>
            <pc:sldMk cId="3113555520" sldId="1051"/>
            <ac:spMk id="14" creationId="{64755E8B-422D-42D1-A8B0-34337F04E437}"/>
          </ac:spMkLst>
        </pc:spChg>
        <pc:spChg chg="add del mod">
          <ac:chgData name="Khandelwal, Rahul" userId="a3e3dcc2-f091-47be-b937-7067e8d8998e" providerId="ADAL" clId="{AC50A7E9-CB84-4BF0-AD9D-B7BA5EC23CA2}" dt="2021-05-22T14:16:20.913" v="1513" actId="478"/>
          <ac:spMkLst>
            <pc:docMk/>
            <pc:sldMk cId="3113555520" sldId="1051"/>
            <ac:spMk id="15" creationId="{912694D8-6E15-4B3C-BBB9-8850CFD5CD41}"/>
          </ac:spMkLst>
        </pc:spChg>
        <pc:spChg chg="add del mod">
          <ac:chgData name="Khandelwal, Rahul" userId="a3e3dcc2-f091-47be-b937-7067e8d8998e" providerId="ADAL" clId="{AC50A7E9-CB84-4BF0-AD9D-B7BA5EC23CA2}" dt="2021-05-22T14:16:20.913" v="1513" actId="478"/>
          <ac:spMkLst>
            <pc:docMk/>
            <pc:sldMk cId="3113555520" sldId="1051"/>
            <ac:spMk id="16" creationId="{87BA6EBE-AF25-4B28-A50F-8A7B1C34D428}"/>
          </ac:spMkLst>
        </pc:spChg>
        <pc:spChg chg="add mod">
          <ac:chgData name="Khandelwal, Rahul" userId="a3e3dcc2-f091-47be-b937-7067e8d8998e" providerId="ADAL" clId="{AC50A7E9-CB84-4BF0-AD9D-B7BA5EC23CA2}" dt="2021-05-22T14:16:20.913" v="1513" actId="478"/>
          <ac:spMkLst>
            <pc:docMk/>
            <pc:sldMk cId="3113555520" sldId="1051"/>
            <ac:spMk id="18" creationId="{2B5FA8C1-3420-4A51-A322-D09D92E329DC}"/>
          </ac:spMkLst>
        </pc:spChg>
      </pc:sldChg>
      <pc:sldChg chg="addSp delSp modSp add">
        <pc:chgData name="Khandelwal, Rahul" userId="a3e3dcc2-f091-47be-b937-7067e8d8998e" providerId="ADAL" clId="{AC50A7E9-CB84-4BF0-AD9D-B7BA5EC23CA2}" dt="2021-05-24T06:33:29.262" v="2314" actId="20577"/>
        <pc:sldMkLst>
          <pc:docMk/>
          <pc:sldMk cId="1937246165" sldId="1052"/>
        </pc:sldMkLst>
        <pc:graphicFrameChg chg="add mod modGraphic">
          <ac:chgData name="Khandelwal, Rahul" userId="a3e3dcc2-f091-47be-b937-7067e8d8998e" providerId="ADAL" clId="{AC50A7E9-CB84-4BF0-AD9D-B7BA5EC23CA2}" dt="2021-05-22T14:24:02.090" v="1766" actId="1076"/>
          <ac:graphicFrameMkLst>
            <pc:docMk/>
            <pc:sldMk cId="1937246165" sldId="1052"/>
            <ac:graphicFrameMk id="5" creationId="{6AC9B97D-2224-44C0-8872-353C14F05D1C}"/>
          </ac:graphicFrameMkLst>
        </pc:graphicFrameChg>
        <pc:graphicFrameChg chg="modGraphic">
          <ac:chgData name="Khandelwal, Rahul" userId="a3e3dcc2-f091-47be-b937-7067e8d8998e" providerId="ADAL" clId="{AC50A7E9-CB84-4BF0-AD9D-B7BA5EC23CA2}" dt="2021-05-24T06:33:29.262" v="2314" actId="20577"/>
          <ac:graphicFrameMkLst>
            <pc:docMk/>
            <pc:sldMk cId="1937246165" sldId="1052"/>
            <ac:graphicFrameMk id="7" creationId="{F101AABD-79F0-4BD8-8F99-5941D501EEEE}"/>
          </ac:graphicFrameMkLst>
        </pc:graphicFrameChg>
        <pc:graphicFrameChg chg="del mod">
          <ac:chgData name="Khandelwal, Rahul" userId="a3e3dcc2-f091-47be-b937-7067e8d8998e" providerId="ADAL" clId="{AC50A7E9-CB84-4BF0-AD9D-B7BA5EC23CA2}" dt="2021-05-22T14:20:18.766" v="1517" actId="478"/>
          <ac:graphicFrameMkLst>
            <pc:docMk/>
            <pc:sldMk cId="1937246165" sldId="1052"/>
            <ac:graphicFrameMk id="9" creationId="{BCEE4EDF-47E0-4948-A5C6-AA56E2739804}"/>
          </ac:graphicFrameMkLst>
        </pc:graphicFrameChg>
      </pc:sldChg>
      <pc:sldChg chg="modSp">
        <pc:chgData name="Khandelwal, Rahul" userId="a3e3dcc2-f091-47be-b937-7067e8d8998e" providerId="ADAL" clId="{AC50A7E9-CB84-4BF0-AD9D-B7BA5EC23CA2}" dt="2021-05-24T05:22:31.418" v="2156" actId="113"/>
        <pc:sldMkLst>
          <pc:docMk/>
          <pc:sldMk cId="3622275861" sldId="1989"/>
        </pc:sldMkLst>
        <pc:spChg chg="mod">
          <ac:chgData name="Khandelwal, Rahul" userId="a3e3dcc2-f091-47be-b937-7067e8d8998e" providerId="ADAL" clId="{AC50A7E9-CB84-4BF0-AD9D-B7BA5EC23CA2}" dt="2021-05-24T05:19:58.365" v="2085" actId="113"/>
          <ac:spMkLst>
            <pc:docMk/>
            <pc:sldMk cId="3622275861" sldId="1989"/>
            <ac:spMk id="7170" creationId="{4EF0A5D5-CB77-4BCF-86BB-EC8AFA4AA0E3}"/>
          </ac:spMkLst>
        </pc:spChg>
        <pc:spChg chg="mod">
          <ac:chgData name="Khandelwal, Rahul" userId="a3e3dcc2-f091-47be-b937-7067e8d8998e" providerId="ADAL" clId="{AC50A7E9-CB84-4BF0-AD9D-B7BA5EC23CA2}" dt="2021-05-24T05:22:31.418" v="2156" actId="113"/>
          <ac:spMkLst>
            <pc:docMk/>
            <pc:sldMk cId="3622275861" sldId="1989"/>
            <ac:spMk id="7175" creationId="{BADEA8C0-D1A3-4608-9E63-683339DCC944}"/>
          </ac:spMkLst>
        </pc:spChg>
        <pc:spChg chg="mod">
          <ac:chgData name="Khandelwal, Rahul" userId="a3e3dcc2-f091-47be-b937-7067e8d8998e" providerId="ADAL" clId="{AC50A7E9-CB84-4BF0-AD9D-B7BA5EC23CA2}" dt="2021-05-24T05:22:16.115" v="2154" actId="1076"/>
          <ac:spMkLst>
            <pc:docMk/>
            <pc:sldMk cId="3622275861" sldId="1989"/>
            <ac:spMk id="7180" creationId="{273FF0AF-5E94-435C-8A2A-7A7CA0FE36A6}"/>
          </ac:spMkLst>
        </pc:spChg>
        <pc:picChg chg="mod">
          <ac:chgData name="Khandelwal, Rahul" userId="a3e3dcc2-f091-47be-b937-7067e8d8998e" providerId="ADAL" clId="{AC50A7E9-CB84-4BF0-AD9D-B7BA5EC23CA2}" dt="2021-05-24T05:22:16.115" v="2154" actId="1076"/>
          <ac:picMkLst>
            <pc:docMk/>
            <pc:sldMk cId="3622275861" sldId="1989"/>
            <ac:picMk id="7179" creationId="{12618B16-99B6-4F89-A145-C5939A93831F}"/>
          </ac:picMkLst>
        </pc:picChg>
        <pc:picChg chg="mod">
          <ac:chgData name="Khandelwal, Rahul" userId="a3e3dcc2-f091-47be-b937-7067e8d8998e" providerId="ADAL" clId="{AC50A7E9-CB84-4BF0-AD9D-B7BA5EC23CA2}" dt="2021-05-24T05:22:16.115" v="2154" actId="1076"/>
          <ac:picMkLst>
            <pc:docMk/>
            <pc:sldMk cId="3622275861" sldId="1989"/>
            <ac:picMk id="7181" creationId="{568E79A1-196A-4599-9F1F-AD39B99F1222}"/>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6/2021</a:t>
            </a:fld>
            <a:endParaRPr lang="pt-PT" sz="9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6/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xmlns=""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xmlns=""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24"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xmlns=""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xmlns=""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04"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4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xmlns=""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xmlns=""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xmlns=""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xmlns=""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xmlns=""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xmlns=""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xmlns=""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xmlns=""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6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xmlns=""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xmlns=""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xmlns=""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xmlns=""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xmlns=""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xmlns=""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xmlns=""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xmlns=""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xmlns=""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xmlns="" id="{19E068FC-C38C-4D71-9A54-1BAA4BDE3EA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xmlns=""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8"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2"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6"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200"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6/25/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6"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xmlns=""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xmlns=""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xmlns=""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xmlns=""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xmlns=""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xmlns=""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xmlns=""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xmlns=""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xmlns=""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xmlns=""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xmlns=""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xmlns=""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xmlns=""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xmlns=""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xmlns=""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xmlns=""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xmlns=""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xmlns=""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xmlns=""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xmlns=""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xmlns=""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xmlns=""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xmlns=""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xmlns=""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xmlns=""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xmlns=""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xmlns=""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xmlns=""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xmlns=""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xmlns=""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xmlns=""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mailto:vinitarajoria@capgemini.com"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capgemini-my.sharepoint.com/:v:/r/personal/vinita_rajoria_capgemini_com/Documents/VinitaVideo/Vinita_FlightBookingSystemCS.mp4?csf=1&amp;web=1&amp;e=Jt8Gul" TargetMode="External"/><Relationship Id="rId5" Type="http://schemas.openxmlformats.org/officeDocument/2006/relationships/image" Target="../media/image13.png"/><Relationship Id="rId4" Type="http://schemas.openxmlformats.org/officeDocument/2006/relationships/hyperlink" Target="https://github.com/vinita72/FlightBookingD-Remote.git"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xmlns="" id="{B8B0DC3D-A319-4B78-A461-3FAC5C106C85}"/>
              </a:ext>
            </a:extLst>
          </p:cNvPr>
          <p:cNvGraphicFramePr>
            <a:graphicFrameLocks noGrp="1"/>
          </p:cNvGraphicFramePr>
          <p:nvPr>
            <p:extLst>
              <p:ext uri="{D42A27DB-BD31-4B8C-83A1-F6EECF244321}">
                <p14:modId xmlns:p14="http://schemas.microsoft.com/office/powerpoint/2010/main" val="1659567581"/>
              </p:ext>
            </p:extLst>
          </p:nvPr>
        </p:nvGraphicFramePr>
        <p:xfrm>
          <a:off x="9229514" y="1185944"/>
          <a:ext cx="2962486" cy="5577601"/>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xmlns="" val="3331298770"/>
                    </a:ext>
                  </a:extLst>
                </a:gridCol>
                <a:gridCol w="2209800">
                  <a:extLst>
                    <a:ext uri="{9D8B030D-6E8A-4147-A177-3AD203B41FA5}">
                      <a16:colId xmlns:a16="http://schemas.microsoft.com/office/drawing/2014/main" xmlns="" val="879084521"/>
                    </a:ext>
                  </a:extLst>
                </a:gridCol>
              </a:tblGrid>
              <a:tr h="476861">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a:t>
                      </a:r>
                      <a:r>
                        <a:rPr kumimoji="0" lang="en-US" sz="700" b="0" u="none" strike="noStrike" kern="1200" cap="none" spc="0" normalizeH="0" baseline="0" dirty="0" err="1" smtClean="0">
                          <a:ln>
                            <a:noFill/>
                          </a:ln>
                          <a:effectLst/>
                          <a:uLnTx/>
                          <a:uFillTx/>
                        </a:rPr>
                        <a:t>Mockito</a:t>
                      </a:r>
                      <a:r>
                        <a:rPr kumimoji="0" lang="en-US" sz="700" b="0" u="none" strike="noStrike" kern="1200" cap="none" spc="0" normalizeH="0" baseline="0" dirty="0" smtClean="0">
                          <a:ln>
                            <a:noFill/>
                          </a:ln>
                          <a:effectLst/>
                          <a:uLnTx/>
                          <a:uFillTx/>
                        </a:rPr>
                        <a:t>.</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727898659"/>
                  </a:ext>
                </a:extLst>
              </a:tr>
              <a:tr h="3767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294054581"/>
                  </a:ext>
                </a:extLst>
              </a:tr>
              <a:tr h="6040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xmlns="" val="3229840877"/>
                  </a:ext>
                </a:extLst>
              </a:tr>
              <a:tr h="476861">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 DAO layer using spring Data repositories, Transaction Management</a:t>
                      </a:r>
                      <a:endParaRPr lang="en-US" sz="700" dirty="0">
                        <a:solidFill>
                          <a:schemeClr val="tx1"/>
                        </a:solidFill>
                      </a:endParaRPr>
                    </a:p>
                  </a:txBody>
                  <a:tcPr/>
                </a:tc>
                <a:extLst>
                  <a:ext uri="{0D108BD9-81ED-4DB2-BD59-A6C34878D82A}">
                    <a16:rowId xmlns:a16="http://schemas.microsoft.com/office/drawing/2014/main" xmlns="" val="668073409"/>
                  </a:ext>
                </a:extLst>
              </a:tr>
              <a:tr h="65072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a:t>
                      </a:r>
                      <a:r>
                        <a:rPr kumimoji="0" lang="en-US" sz="700" u="none" strike="noStrike" kern="1200" cap="none" spc="0" normalizeH="0" baseline="0" dirty="0" smtClean="0">
                          <a:ln>
                            <a:noFill/>
                          </a:ln>
                          <a:effectLst/>
                          <a:uLnTx/>
                          <a:uFillTx/>
                        </a:rPr>
                        <a:t>Service, </a:t>
                      </a:r>
                      <a:r>
                        <a:rPr kumimoji="0" lang="en-US" sz="700" u="none" strike="noStrike" kern="1200" cap="none" spc="0" normalizeH="0" baseline="0" dirty="0">
                          <a:ln>
                            <a:noFill/>
                          </a:ln>
                          <a:effectLst/>
                          <a:uLnTx/>
                          <a:uFillTx/>
                        </a:rPr>
                        <a:t>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135133130"/>
                  </a:ext>
                </a:extLst>
              </a:tr>
              <a:tr h="47026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a:t>
                      </a:r>
                      <a:r>
                        <a:rPr kumimoji="0" lang="en-US" sz="700" u="none" strike="noStrike" kern="1200" cap="none" spc="0" normalizeH="0" baseline="0" dirty="0" smtClean="0">
                          <a:ln>
                            <a:noFill/>
                          </a:ln>
                          <a:solidFill>
                            <a:schemeClr val="tx1"/>
                          </a:solidFill>
                          <a:effectLst/>
                          <a:uLnTx/>
                          <a:uFillTx/>
                          <a:latin typeface="+mn-lt"/>
                          <a:ea typeface="+mn-ea"/>
                          <a:cs typeface="+mn-cs"/>
                        </a:rPr>
                        <a:t>Ribbon, </a:t>
                      </a:r>
                      <a:r>
                        <a:rPr kumimoji="0" lang="en-US" sz="700" u="none" strike="noStrike" kern="1200" cap="none" spc="0" normalizeH="0" baseline="0" dirty="0">
                          <a:ln>
                            <a:noFill/>
                          </a:ln>
                          <a:solidFill>
                            <a:schemeClr val="tx1"/>
                          </a:solidFill>
                          <a:effectLst/>
                          <a:uLnTx/>
                          <a:uFillTx/>
                          <a:latin typeface="+mn-lt"/>
                          <a:ea typeface="+mn-ea"/>
                          <a:cs typeface="+mn-cs"/>
                        </a:rPr>
                        <a:t>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978295346"/>
                  </a:ext>
                </a:extLst>
              </a:tr>
              <a:tr h="437125">
                <a:tc>
                  <a:txBody>
                    <a:bodyPr/>
                    <a:lstStyle/>
                    <a:p>
                      <a:r>
                        <a:rPr kumimoji="0" lang="en-US" sz="8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Spring Security</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smtClean="0">
                          <a:ln>
                            <a:noFill/>
                          </a:ln>
                          <a:solidFill>
                            <a:schemeClr val="tx1"/>
                          </a:solidFill>
                          <a:effectLst/>
                          <a:uLnTx/>
                          <a:uFillTx/>
                          <a:latin typeface="+mn-lt"/>
                          <a:ea typeface="+mn-ea"/>
                          <a:cs typeface="+mn-cs"/>
                        </a:rPr>
                        <a:t>Spring </a:t>
                      </a:r>
                      <a:r>
                        <a:rPr kumimoji="0" lang="en-IN" sz="700" u="none" strike="noStrike" kern="1200" cap="none" spc="0" normalizeH="0" baseline="0" dirty="0" smtClean="0">
                          <a:ln>
                            <a:noFill/>
                          </a:ln>
                          <a:solidFill>
                            <a:schemeClr val="tx1"/>
                          </a:solidFill>
                          <a:effectLst/>
                          <a:uLnTx/>
                          <a:uFillTx/>
                          <a:latin typeface="+mn-lt"/>
                          <a:ea typeface="+mn-ea"/>
                          <a:cs typeface="+mn-cs"/>
                        </a:rPr>
                        <a:t>Authentication and Authorization </a:t>
                      </a:r>
                      <a:r>
                        <a:rPr kumimoji="0" lang="en-IN" sz="700" u="none" strike="noStrike" kern="1200" cap="none" spc="0" normalizeH="0" baseline="0" dirty="0" err="1" smtClean="0">
                          <a:ln>
                            <a:noFill/>
                          </a:ln>
                          <a:solidFill>
                            <a:schemeClr val="tx1"/>
                          </a:solidFill>
                          <a:effectLst/>
                          <a:uLnTx/>
                          <a:uFillTx/>
                          <a:latin typeface="+mn-lt"/>
                          <a:ea typeface="+mn-ea"/>
                          <a:cs typeface="+mn-cs"/>
                        </a:rPr>
                        <a:t>Auth</a:t>
                      </a:r>
                      <a:r>
                        <a:rPr kumimoji="0" lang="en-IN" sz="700" u="none" strike="noStrike" kern="1200" cap="none" spc="0" normalizeH="0" baseline="0" dirty="0" smtClean="0">
                          <a:ln>
                            <a:noFill/>
                          </a:ln>
                          <a:solidFill>
                            <a:schemeClr val="tx1"/>
                          </a:solidFill>
                          <a:effectLst/>
                          <a:uLnTx/>
                          <a:uFillTx/>
                          <a:latin typeface="+mn-lt"/>
                          <a:ea typeface="+mn-ea"/>
                          <a:cs typeface="+mn-cs"/>
                        </a:rPr>
                        <a:t> and </a:t>
                      </a:r>
                      <a:r>
                        <a:rPr kumimoji="0" lang="en-IN" sz="700" u="none" strike="noStrike" kern="1200" cap="none" spc="0" normalizeH="0" baseline="0" dirty="0" err="1" smtClean="0">
                          <a:ln>
                            <a:noFill/>
                          </a:ln>
                          <a:solidFill>
                            <a:schemeClr val="tx1"/>
                          </a:solidFill>
                          <a:effectLst/>
                          <a:uLnTx/>
                          <a:uFillTx/>
                          <a:latin typeface="+mn-lt"/>
                          <a:ea typeface="+mn-ea"/>
                          <a:cs typeface="+mn-cs"/>
                        </a:rPr>
                        <a:t>OAuth</a:t>
                      </a:r>
                      <a:r>
                        <a:rPr kumimoji="0" lang="en-IN" sz="700" u="none" strike="noStrike" kern="1200" cap="none" spc="0" normalizeH="0" baseline="0" dirty="0" smtClean="0">
                          <a:ln>
                            <a:noFill/>
                          </a:ln>
                          <a:solidFill>
                            <a:schemeClr val="tx1"/>
                          </a:solidFill>
                          <a:effectLst/>
                          <a:uLnTx/>
                          <a:uFillTx/>
                          <a:latin typeface="+mn-lt"/>
                          <a:ea typeface="+mn-ea"/>
                          <a:cs typeface="+mn-cs"/>
                        </a:rPr>
                        <a:t> 2.</a:t>
                      </a: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xmlns="" val="2781158786"/>
                  </a:ext>
                </a:extLst>
              </a:tr>
              <a:tr h="47686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3158575213"/>
                  </a:ext>
                </a:extLst>
              </a:tr>
              <a:tr h="34969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Basic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298680090"/>
                  </a:ext>
                </a:extLst>
              </a:tr>
              <a:tr h="47686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xmlns="" val="9512774"/>
                  </a:ext>
                </a:extLst>
              </a:tr>
              <a:tr h="30472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xmlns="" val="645317192"/>
                  </a:ext>
                </a:extLst>
              </a:tr>
              <a:tr h="476861">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a:t>
                      </a:r>
                      <a:endPar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Peer learn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xmlns="" val="2840432058"/>
                  </a:ext>
                </a:extLst>
              </a:tr>
            </a:tbl>
          </a:graphicData>
        </a:graphic>
      </p:graphicFrame>
      <p:sp>
        <p:nvSpPr>
          <p:cNvPr id="7170" name="Text Placeholder 18">
            <a:extLst>
              <a:ext uri="{FF2B5EF4-FFF2-40B4-BE49-F238E27FC236}">
                <a16:creationId xmlns:a16="http://schemas.microsoft.com/office/drawing/2014/main" xmlns="" id="{4EF0A5D5-CB77-4BCF-86BB-EC8AFA4AA0E3}"/>
              </a:ext>
            </a:extLst>
          </p:cNvPr>
          <p:cNvSpPr>
            <a:spLocks noGrp="1"/>
          </p:cNvSpPr>
          <p:nvPr>
            <p:ph type="body" sz="quarter" idx="36"/>
          </p:nvPr>
        </p:nvSpPr>
        <p:spPr>
          <a:xfrm>
            <a:off x="4837113" y="2995613"/>
            <a:ext cx="4008437" cy="2952100"/>
          </a:xfrm>
        </p:spPr>
        <p:txBody>
          <a:bodyPr/>
          <a:lstStyle/>
          <a:p>
            <a:pPr eaLnBrk="1" hangingPunct="1">
              <a:lnSpc>
                <a:spcPct val="114000"/>
              </a:lnSpc>
            </a:pPr>
            <a:r>
              <a:rPr lang="en-US" altLang="en-US" b="1" dirty="0" smtClean="0"/>
              <a:t>Online Flight Booking Application</a:t>
            </a:r>
            <a:endParaRPr lang="en-US" altLang="en-US" b="1" dirty="0"/>
          </a:p>
          <a:p>
            <a:pPr algn="just" eaLnBrk="1" hangingPunct="1">
              <a:lnSpc>
                <a:spcPct val="100000"/>
              </a:lnSpc>
            </a:pPr>
            <a:r>
              <a:rPr lang="en-IN" altLang="en-US" dirty="0"/>
              <a:t>Completed end to end case study of </a:t>
            </a:r>
            <a:r>
              <a:rPr lang="en-IN" altLang="en-US" dirty="0" smtClean="0"/>
              <a:t>Online Flight Booking Application </a:t>
            </a:r>
            <a:r>
              <a:rPr lang="en-IN" altLang="en-US" dirty="0"/>
              <a:t>along with </a:t>
            </a:r>
            <a:r>
              <a:rPr lang="en-IN" altLang="en-US" dirty="0" smtClean="0"/>
              <a:t>Spring Security </a:t>
            </a:r>
            <a:r>
              <a:rPr lang="en-IN" altLang="en-US" dirty="0" err="1" smtClean="0"/>
              <a:t>Auth</a:t>
            </a:r>
            <a:r>
              <a:rPr lang="en-IN" altLang="en-US" dirty="0" smtClean="0"/>
              <a:t> and </a:t>
            </a:r>
            <a:r>
              <a:rPr lang="en-IN" altLang="en-US" dirty="0" err="1" smtClean="0"/>
              <a:t>Oauth</a:t>
            </a:r>
            <a:r>
              <a:rPr lang="en-IN" altLang="en-US" dirty="0" smtClean="0"/>
              <a:t> 2 authentication</a:t>
            </a:r>
            <a:r>
              <a:rPr lang="en-IN" altLang="en-US" dirty="0"/>
              <a:t>, </a:t>
            </a:r>
            <a:r>
              <a:rPr lang="en-IN" altLang="en-US" dirty="0" err="1" smtClean="0"/>
              <a:t>Microservices</a:t>
            </a:r>
            <a:r>
              <a:rPr lang="en-IN" altLang="en-US" dirty="0" smtClean="0"/>
              <a:t>, </a:t>
            </a:r>
            <a:r>
              <a:rPr lang="en-IN" altLang="en-US" dirty="0" err="1" smtClean="0"/>
              <a:t>Zuul</a:t>
            </a:r>
            <a:r>
              <a:rPr lang="en-IN" altLang="en-US" dirty="0" smtClean="0"/>
              <a:t> API Gateway, Eureka Server, Rest Template, Load Balancer, Swagger </a:t>
            </a:r>
            <a:r>
              <a:rPr lang="en-IN" altLang="en-US" dirty="0"/>
              <a:t>and payment </a:t>
            </a:r>
            <a:r>
              <a:rPr lang="en-IN" altLang="en-US" dirty="0" smtClean="0"/>
              <a:t>using </a:t>
            </a:r>
            <a:r>
              <a:rPr lang="en-IN" altLang="en-US" dirty="0" err="1" smtClean="0"/>
              <a:t>Paytm</a:t>
            </a:r>
            <a:r>
              <a:rPr lang="en-IN" altLang="en-US" dirty="0" smtClean="0"/>
              <a:t>, </a:t>
            </a:r>
            <a:r>
              <a:rPr lang="en-IN" altLang="en-US" dirty="0"/>
              <a:t>responsive UI with </a:t>
            </a:r>
            <a:r>
              <a:rPr lang="en-US" altLang="en-US" dirty="0" smtClean="0"/>
              <a:t>CSS </a:t>
            </a:r>
            <a:r>
              <a:rPr lang="en-US" altLang="en-US" dirty="0"/>
              <a:t>and Angular used for user interface.</a:t>
            </a:r>
            <a:endParaRPr lang="en-US" altLang="nl-NL" b="1" dirty="0"/>
          </a:p>
          <a:p>
            <a:pPr>
              <a:lnSpc>
                <a:spcPct val="100000"/>
              </a:lnSpc>
            </a:pPr>
            <a:r>
              <a:rPr lang="en-IN" b="1" dirty="0" smtClean="0"/>
              <a:t>Internship in Front-End Development</a:t>
            </a:r>
            <a:endParaRPr lang="en-IN" altLang="nl-NL" b="1" dirty="0"/>
          </a:p>
          <a:p>
            <a:pPr>
              <a:lnSpc>
                <a:spcPct val="100000"/>
              </a:lnSpc>
            </a:pPr>
            <a:r>
              <a:rPr lang="en-IN" altLang="en-US" dirty="0"/>
              <a:t>Designed responsive Restaurant website using HTML5 CSS3 Bootstrap and </a:t>
            </a:r>
            <a:r>
              <a:rPr lang="en-IN" altLang="en-US" dirty="0" smtClean="0"/>
              <a:t>JavaScript.</a:t>
            </a:r>
            <a:endParaRPr lang="en-IN" altLang="en-US" dirty="0"/>
          </a:p>
          <a:p>
            <a:pPr>
              <a:lnSpc>
                <a:spcPct val="100000"/>
              </a:lnSpc>
            </a:pPr>
            <a:r>
              <a:rPr lang="en-IN" altLang="en-US" dirty="0"/>
              <a:t>Designed </a:t>
            </a:r>
            <a:r>
              <a:rPr lang="en-IN" altLang="en-US" dirty="0" smtClean="0"/>
              <a:t>Web Templates using Angular, HTML5, CSS3, Bootstrap </a:t>
            </a:r>
            <a:r>
              <a:rPr lang="en-IN" altLang="en-US" dirty="0"/>
              <a:t>and JavaScript.</a:t>
            </a:r>
          </a:p>
          <a:p>
            <a:pPr eaLnBrk="1" hangingPunct="1">
              <a:lnSpc>
                <a:spcPct val="100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a16="http://schemas.microsoft.com/office/drawing/2014/main" xmlns="" id="{FF4CCF3B-4887-442F-A757-E5908FA1808D}"/>
              </a:ext>
            </a:extLst>
          </p:cNvPr>
          <p:cNvSpPr>
            <a:spLocks noGrp="1"/>
          </p:cNvSpPr>
          <p:nvPr>
            <p:ph type="body" sz="quarter" idx="42"/>
          </p:nvPr>
        </p:nvSpPr>
        <p:spPr>
          <a:xfrm>
            <a:off x="2424418" y="676672"/>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xmlns=""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smtClean="0"/>
              <a:t>Mumbai</a:t>
            </a:r>
            <a:endParaRPr lang="nl-NL" altLang="nl-NL" dirty="0"/>
          </a:p>
          <a:p>
            <a:pPr eaLnBrk="1" hangingPunct="1"/>
            <a:endParaRPr lang="nl-NL" altLang="nl-NL" dirty="0"/>
          </a:p>
        </p:txBody>
      </p:sp>
      <p:sp>
        <p:nvSpPr>
          <p:cNvPr id="7173" name="Text Placeholder 24">
            <a:extLst>
              <a:ext uri="{FF2B5EF4-FFF2-40B4-BE49-F238E27FC236}">
                <a16:creationId xmlns:a16="http://schemas.microsoft.com/office/drawing/2014/main" xmlns="" id="{0DF2099D-8FC2-44CE-AB60-E2C2257CB05D}"/>
              </a:ext>
            </a:extLst>
          </p:cNvPr>
          <p:cNvSpPr>
            <a:spLocks noGrp="1"/>
          </p:cNvSpPr>
          <p:nvPr>
            <p:ph type="body" sz="quarter" idx="47"/>
          </p:nvPr>
        </p:nvSpPr>
        <p:spPr>
          <a:xfrm>
            <a:off x="3266492" y="1579671"/>
            <a:ext cx="2373313" cy="417030"/>
          </a:xfrm>
        </p:spPr>
        <p:txBody>
          <a:bodyPr/>
          <a:lstStyle/>
          <a:p>
            <a:pPr eaLnBrk="1" hangingPunct="1"/>
            <a:r>
              <a:rPr lang="nl-NL" altLang="nl-NL" dirty="0" smtClean="0">
                <a:hlinkClick r:id="rId3"/>
              </a:rPr>
              <a:t>vinitarajoria@capgemini.com</a:t>
            </a:r>
            <a:r>
              <a:rPr lang="nl-NL" altLang="nl-NL" dirty="0" smtClean="0"/>
              <a:t>  </a:t>
            </a:r>
            <a:endParaRPr lang="nl-NL" altLang="nl-NL" dirty="0"/>
          </a:p>
        </p:txBody>
      </p:sp>
      <p:sp>
        <p:nvSpPr>
          <p:cNvPr id="7174" name="Text Placeholder 25">
            <a:extLst>
              <a:ext uri="{FF2B5EF4-FFF2-40B4-BE49-F238E27FC236}">
                <a16:creationId xmlns:a16="http://schemas.microsoft.com/office/drawing/2014/main" xmlns="" id="{8B11FF61-9AA9-42E0-800D-B94AC06E095E}"/>
              </a:ext>
            </a:extLst>
          </p:cNvPr>
          <p:cNvSpPr>
            <a:spLocks noGrp="1"/>
          </p:cNvSpPr>
          <p:nvPr>
            <p:ph type="body" sz="quarter" idx="48"/>
          </p:nvPr>
        </p:nvSpPr>
        <p:spPr>
          <a:xfrm>
            <a:off x="3356355" y="1851903"/>
            <a:ext cx="2382837" cy="330200"/>
          </a:xfrm>
        </p:spPr>
        <p:txBody>
          <a:bodyPr/>
          <a:lstStyle/>
          <a:p>
            <a:pPr eaLnBrk="1" hangingPunct="1"/>
            <a:r>
              <a:rPr lang="nl-NL" altLang="nl-NL" dirty="0"/>
              <a:t>+91 </a:t>
            </a:r>
            <a:r>
              <a:rPr lang="nl-NL" altLang="nl-NL" dirty="0" smtClean="0"/>
              <a:t>9571158099</a:t>
            </a:r>
            <a:endParaRPr lang="nl-NL" altLang="nl-NL" dirty="0"/>
          </a:p>
        </p:txBody>
      </p:sp>
      <p:sp>
        <p:nvSpPr>
          <p:cNvPr id="7175" name="Text Placeholder 26">
            <a:extLst>
              <a:ext uri="{FF2B5EF4-FFF2-40B4-BE49-F238E27FC236}">
                <a16:creationId xmlns:a16="http://schemas.microsoft.com/office/drawing/2014/main" xmlns="" id="{BADEA8C0-D1A3-4608-9E63-683339DCC944}"/>
              </a:ext>
            </a:extLst>
          </p:cNvPr>
          <p:cNvSpPr>
            <a:spLocks noGrp="1"/>
          </p:cNvSpPr>
          <p:nvPr>
            <p:ph type="body" sz="quarter" idx="50"/>
          </p:nvPr>
        </p:nvSpPr>
        <p:spPr>
          <a:xfrm>
            <a:off x="383259" y="2743200"/>
            <a:ext cx="4069890" cy="4020342"/>
          </a:xfrm>
        </p:spPr>
        <p:txBody>
          <a:bodyPr/>
          <a:lstStyle/>
          <a:p>
            <a:r>
              <a:rPr lang="en-US" altLang="en-US" sz="1100" b="1" dirty="0"/>
              <a:t>Full Stack Developer</a:t>
            </a:r>
          </a:p>
          <a:p>
            <a:pPr marL="171450" indent="-171450" algn="just">
              <a:lnSpc>
                <a:spcPct val="100000"/>
              </a:lnSpc>
              <a:buFont typeface="Arial" panose="020B0604020202020204" pitchFamily="34" charset="0"/>
              <a:buChar char="•"/>
            </a:pPr>
            <a:r>
              <a:rPr lang="en-US" dirty="0"/>
              <a:t>Hands on experience in creating </a:t>
            </a:r>
            <a:r>
              <a:rPr lang="en-US" b="1" dirty="0"/>
              <a:t>microservices</a:t>
            </a:r>
            <a:r>
              <a:rPr lang="en-US" dirty="0"/>
              <a:t> with </a:t>
            </a:r>
            <a:r>
              <a:rPr lang="en-US" b="1" dirty="0" err="1" smtClean="0"/>
              <a:t>SpringBoot</a:t>
            </a:r>
            <a:r>
              <a:rPr lang="en-US" b="1" dirty="0"/>
              <a:t>, Spring Security, Spring Cloud API Gateway,</a:t>
            </a:r>
            <a:r>
              <a:rPr lang="en-US" dirty="0"/>
              <a:t> Eureka </a:t>
            </a:r>
            <a:r>
              <a:rPr lang="en-US" dirty="0" smtClean="0"/>
              <a:t>server, </a:t>
            </a:r>
            <a:r>
              <a:rPr lang="en-US" dirty="0"/>
              <a:t>load </a:t>
            </a:r>
            <a:r>
              <a:rPr lang="en-US" dirty="0" smtClean="0"/>
              <a:t>balancing.</a:t>
            </a:r>
            <a:endParaRPr lang="en-US" dirty="0"/>
          </a:p>
          <a:p>
            <a:pPr marL="171450" indent="-171450" algn="just">
              <a:lnSpc>
                <a:spcPct val="100000"/>
              </a:lnSpc>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a:t>
            </a:r>
            <a:r>
              <a:rPr lang="en-US" dirty="0" smtClean="0"/>
              <a:t>forms</a:t>
            </a:r>
            <a:r>
              <a:rPr lang="en-US" dirty="0"/>
              <a:t>, angular routing, </a:t>
            </a:r>
            <a:r>
              <a:rPr lang="en-US" dirty="0" smtClean="0"/>
              <a:t>CSS, JavaScript, HTML.</a:t>
            </a:r>
            <a:endParaRPr lang="en-US" dirty="0"/>
          </a:p>
          <a:p>
            <a:pPr marL="171450" indent="-171450" algn="just">
              <a:lnSpc>
                <a:spcPct val="100000"/>
              </a:lnSpc>
              <a:buFont typeface="Arial" panose="020B0604020202020204" pitchFamily="34" charset="0"/>
              <a:buChar char="•"/>
            </a:pPr>
            <a:r>
              <a:rPr lang="en-IN" dirty="0"/>
              <a:t>Hands-on experience in using message brokers such as </a:t>
            </a:r>
            <a:r>
              <a:rPr lang="en-IN" b="1" dirty="0" err="1" smtClean="0"/>
              <a:t>RabbitMQ</a:t>
            </a:r>
            <a:r>
              <a:rPr lang="en-IN" dirty="0"/>
              <a:t>.</a:t>
            </a:r>
          </a:p>
          <a:p>
            <a:pPr marL="171450" indent="-171450" algn="just">
              <a:lnSpc>
                <a:spcPct val="100000"/>
              </a:lnSpc>
              <a:buFont typeface="Arial" panose="020B0604020202020204" pitchFamily="34" charset="0"/>
              <a:buChar char="•"/>
            </a:pPr>
            <a:r>
              <a:rPr lang="en-US" dirty="0" smtClean="0"/>
              <a:t>Experience </a:t>
            </a:r>
            <a:r>
              <a:rPr lang="en-US" dirty="0"/>
              <a:t>in creating documentation with swagger and in unit testing using Junit, </a:t>
            </a:r>
            <a:r>
              <a:rPr lang="en-US" dirty="0" err="1"/>
              <a:t>Mockito</a:t>
            </a:r>
            <a:r>
              <a:rPr lang="en-US" dirty="0"/>
              <a:t>.</a:t>
            </a:r>
          </a:p>
          <a:p>
            <a:pPr marL="171450" indent="-171450" algn="just">
              <a:lnSpc>
                <a:spcPct val="100000"/>
              </a:lnSpc>
              <a:buFont typeface="Arial" panose="020B0604020202020204" pitchFamily="34" charset="0"/>
              <a:buChar char="•"/>
            </a:pPr>
            <a:r>
              <a:rPr lang="en-US" dirty="0" smtClean="0"/>
              <a:t>Hands </a:t>
            </a:r>
            <a:r>
              <a:rPr lang="en-US" dirty="0"/>
              <a:t>on experience in developing web pages using </a:t>
            </a:r>
            <a:r>
              <a:rPr lang="en-US" b="1" dirty="0"/>
              <a:t>HTML5, CSS3, </a:t>
            </a:r>
            <a:r>
              <a:rPr lang="en-US" b="1" dirty="0" smtClean="0"/>
              <a:t>Java </a:t>
            </a:r>
            <a:r>
              <a:rPr lang="en-US" b="1" dirty="0"/>
              <a:t>script, ES6, </a:t>
            </a:r>
            <a:r>
              <a:rPr lang="en-US" b="1" dirty="0" err="1" smtClean="0"/>
              <a:t>Jquery</a:t>
            </a:r>
            <a:r>
              <a:rPr lang="en-US" dirty="0" smtClean="0"/>
              <a:t> and </a:t>
            </a:r>
            <a:r>
              <a:rPr lang="en-US" b="1" dirty="0" smtClean="0"/>
              <a:t>Bootstrap</a:t>
            </a:r>
            <a:r>
              <a:rPr lang="en-US" dirty="0" smtClean="0"/>
              <a:t>.</a:t>
            </a:r>
            <a:r>
              <a:rPr lang="en-US" dirty="0"/>
              <a:t> </a:t>
            </a:r>
            <a:endParaRPr lang="en-US" dirty="0" smtClean="0"/>
          </a:p>
          <a:p>
            <a:pPr marL="171450" indent="-171450" algn="just">
              <a:lnSpc>
                <a:spcPct val="100000"/>
              </a:lnSpc>
              <a:buFont typeface="Arial" panose="020B0604020202020204" pitchFamily="34" charset="0"/>
              <a:buChar char="•"/>
            </a:pPr>
            <a:r>
              <a:rPr lang="en-IN" dirty="0" smtClean="0"/>
              <a:t>Practical </a:t>
            </a:r>
            <a:r>
              <a:rPr lang="en-IN" dirty="0"/>
              <a:t>understanding of </a:t>
            </a:r>
            <a:r>
              <a:rPr lang="en-IN" b="1" dirty="0"/>
              <a:t>advanced </a:t>
            </a:r>
            <a:r>
              <a:rPr lang="en-IN" b="1" dirty="0" smtClean="0"/>
              <a:t>JavaScript</a:t>
            </a:r>
            <a:r>
              <a:rPr lang="en-IN" dirty="0" smtClean="0"/>
              <a:t> </a:t>
            </a:r>
            <a:r>
              <a:rPr lang="en-IN" dirty="0"/>
              <a:t>concepts, such as </a:t>
            </a:r>
            <a:r>
              <a:rPr lang="en-IN" b="1" dirty="0" smtClean="0"/>
              <a:t>Prototype</a:t>
            </a:r>
            <a:r>
              <a:rPr lang="en-IN" dirty="0" smtClean="0"/>
              <a:t>,</a:t>
            </a:r>
            <a:r>
              <a:rPr lang="en-IN" dirty="0"/>
              <a:t> Scope Chain and </a:t>
            </a:r>
            <a:r>
              <a:rPr lang="en-IN" b="1" dirty="0"/>
              <a:t>Promise</a:t>
            </a:r>
            <a:r>
              <a:rPr lang="en-US" altLang="nl-NL" dirty="0"/>
              <a:t/>
            </a:r>
            <a:br>
              <a:rPr lang="en-US" altLang="nl-NL" dirty="0"/>
            </a:br>
            <a:endParaRPr lang="en-US" altLang="nl-NL" dirty="0"/>
          </a:p>
        </p:txBody>
      </p:sp>
      <p:sp>
        <p:nvSpPr>
          <p:cNvPr id="7178" name="Text Placeholder 1">
            <a:extLst>
              <a:ext uri="{FF2B5EF4-FFF2-40B4-BE49-F238E27FC236}">
                <a16:creationId xmlns:a16="http://schemas.microsoft.com/office/drawing/2014/main" xmlns="" id="{3959C7F9-3FBF-4100-BACD-7A75D3D2E90B}"/>
              </a:ext>
            </a:extLst>
          </p:cNvPr>
          <p:cNvSpPr>
            <a:spLocks noGrp="1"/>
          </p:cNvSpPr>
          <p:nvPr>
            <p:ph type="body" sz="quarter" idx="41"/>
          </p:nvPr>
        </p:nvSpPr>
        <p:spPr>
          <a:xfrm>
            <a:off x="2424418" y="412499"/>
            <a:ext cx="4160837" cy="306387"/>
          </a:xfrm>
        </p:spPr>
        <p:txBody>
          <a:bodyPr/>
          <a:lstStyle/>
          <a:p>
            <a:r>
              <a:rPr lang="en-IN" altLang="en-US" dirty="0" smtClean="0"/>
              <a:t>VINITA RAJORIA</a:t>
            </a:r>
            <a:endParaRPr lang="en-IN" altLang="en-US" dirty="0"/>
          </a:p>
        </p:txBody>
      </p:sp>
      <p:pic>
        <p:nvPicPr>
          <p:cNvPr id="7179" name="Picture 7">
            <a:hlinkClick r:id="rId4"/>
            <a:extLst>
              <a:ext uri="{FF2B5EF4-FFF2-40B4-BE49-F238E27FC236}">
                <a16:creationId xmlns:a16="http://schemas.microsoft.com/office/drawing/2014/main" xmlns="" id="{12618B16-99B6-4F89-A145-C5939A9383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93098" y="6122984"/>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xmlns="" id="{273FF0AF-5E94-435C-8A2A-7A7CA0FE36A6}"/>
              </a:ext>
            </a:extLst>
          </p:cNvPr>
          <p:cNvSpPr txBox="1">
            <a:spLocks noChangeArrowheads="1"/>
          </p:cNvSpPr>
          <p:nvPr/>
        </p:nvSpPr>
        <p:spPr bwMode="auto">
          <a:xfrm>
            <a:off x="4964585" y="6227760"/>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xmlns=""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74535" y="6122984"/>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xmlns="" id="{89622B52-B834-40D0-9BA5-24EF14F2A6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xmlns=""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xmlns="" id="{4E726CED-1BAF-414A-893B-4626E9B6F2B4}"/>
              </a:ext>
            </a:extLst>
          </p:cNvPr>
          <p:cNvSpPr/>
          <p:nvPr/>
        </p:nvSpPr>
        <p:spPr>
          <a:xfrm>
            <a:off x="9448800" y="536675"/>
            <a:ext cx="2474013" cy="44319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Electrical Engineering: 2016 </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r>
              <a:rPr kumimoji="0" lang="en-US" altLang="nl-NL" sz="1000" b="0" i="0" u="none" strike="noStrike" kern="1200" cap="none" spc="0" normalizeH="0" baseline="0" noProof="0" dirty="0" smtClean="0">
                <a:ln>
                  <a:noFill/>
                </a:ln>
                <a:solidFill>
                  <a:prstClr val="black"/>
                </a:solidFill>
                <a:effectLst/>
                <a:uLnTx/>
                <a:uFillTx/>
                <a:latin typeface="Verdana" panose="020B0604030504040204" pitchFamily="34" charset="0"/>
                <a:ea typeface="+mn-ea"/>
                <a:cs typeface="+mn-cs"/>
              </a:rPr>
              <a:t>2020</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xmlns=""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0" name="Picture Placeholder 9"/>
          <p:cNvPicPr>
            <a:picLocks noGrp="1" noChangeAspect="1"/>
          </p:cNvPicPr>
          <p:nvPr>
            <p:ph type="pic" sz="quarter" idx="46"/>
          </p:nvPr>
        </p:nvPicPr>
        <p:blipFill rotWithShape="1">
          <a:blip r:embed="rId9">
            <a:extLst>
              <a:ext uri="{28A0092B-C50C-407E-A947-70E740481C1C}">
                <a14:useLocalDpi xmlns:a14="http://schemas.microsoft.com/office/drawing/2010/main" val="0"/>
              </a:ext>
            </a:extLst>
          </a:blip>
          <a:srcRect l="4524" t="8599" r="-4524" b="20767"/>
          <a:stretch/>
        </p:blipFill>
        <p:spPr/>
      </p:pic>
    </p:spTree>
    <p:extLst>
      <p:ext uri="{BB962C8B-B14F-4D97-AF65-F5344CB8AC3E}">
        <p14:creationId xmlns:p14="http://schemas.microsoft.com/office/powerpoint/2010/main" val="36222758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purl.org/dc/dcmitype/"/>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http://schemas.microsoft.com/office/infopath/2007/PartnerControls"/>
    <ds:schemaRef ds:uri="http://schemas.openxmlformats.org/package/2006/metadata/core-properties"/>
    <ds:schemaRef ds:uri="c43bfbf7-b5f8-4451-8464-ef79a2e28ca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09</TotalTime>
  <Words>343</Words>
  <Application>Microsoft Office PowerPoint</Application>
  <PresentationFormat>Widescreen</PresentationFormat>
  <Paragraphs>64</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Helvetica Light</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vinita.rajoria@capgemini.com</dc:creator>
  <cp:lastModifiedBy>Rajoria, Vinita</cp:lastModifiedBy>
  <cp:revision>123</cp:revision>
  <dcterms:created xsi:type="dcterms:W3CDTF">2020-09-22T06:24:34Z</dcterms:created>
  <dcterms:modified xsi:type="dcterms:W3CDTF">2021-06-25T10: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